
<file path=[Content_Types].xml><?xml version="1.0" encoding="utf-8"?>
<Types xmlns="http://schemas.openxmlformats.org/package/2006/content-types">
  <Default Extension="xml" ContentType="application/xml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</p:sldMasterIdLst>
  <p:notesMasterIdLst>
    <p:notesMasterId r:id="rId13"/>
  </p:notesMasterIdLst>
  <p:handoutMasterIdLst>
    <p:handoutMasterId r:id="rId14"/>
  </p:handoutMasterIdLst>
  <p:sldIdLst>
    <p:sldId id="649" r:id="rId2"/>
    <p:sldId id="648" r:id="rId3"/>
    <p:sldId id="641" r:id="rId4"/>
    <p:sldId id="645" r:id="rId5"/>
    <p:sldId id="652" r:id="rId6"/>
    <p:sldId id="655" r:id="rId7"/>
    <p:sldId id="654" r:id="rId8"/>
    <p:sldId id="650" r:id="rId9"/>
    <p:sldId id="651" r:id="rId10"/>
    <p:sldId id="646" r:id="rId11"/>
    <p:sldId id="634" r:id="rId12"/>
  </p:sldIdLst>
  <p:sldSz cx="9144000" cy="6858000" type="screen4x3"/>
  <p:notesSz cx="6805613" cy="99393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176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1104" userDrawn="1">
          <p15:clr>
            <a:srgbClr val="A4A3A4"/>
          </p15:clr>
        </p15:guide>
        <p15:guide id="7" orient="horz" pos="1008" userDrawn="1">
          <p15:clr>
            <a:srgbClr val="A4A3A4"/>
          </p15:clr>
        </p15:guide>
        <p15:guide id="8" orient="horz" pos="2448" userDrawn="1">
          <p15:clr>
            <a:srgbClr val="A4A3A4"/>
          </p15:clr>
        </p15:guide>
        <p15:guide id="9" orient="horz" pos="3475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2832" userDrawn="1">
          <p15:clr>
            <a:srgbClr val="A4A3A4"/>
          </p15:clr>
        </p15:guide>
        <p15:guide id="12" pos="336" userDrawn="1">
          <p15:clr>
            <a:srgbClr val="A4A3A4"/>
          </p15:clr>
        </p15:guide>
        <p15:guide id="13" pos="5424" userDrawn="1">
          <p15:clr>
            <a:srgbClr val="A4A3A4"/>
          </p15:clr>
        </p15:guide>
        <p15:guide id="14" pos="2928" userDrawn="1">
          <p15:clr>
            <a:srgbClr val="A4A3A4"/>
          </p15:clr>
        </p15:guide>
        <p15:guide id="15" pos="1968" userDrawn="1">
          <p15:clr>
            <a:srgbClr val="A4A3A4"/>
          </p15:clr>
        </p15:guide>
        <p15:guide id="16" pos="2070" userDrawn="1">
          <p15:clr>
            <a:srgbClr val="A4A3A4"/>
          </p15:clr>
        </p15:guide>
        <p15:guide id="17" pos="3792" userDrawn="1">
          <p15:clr>
            <a:srgbClr val="A4A3A4"/>
          </p15:clr>
        </p15:guide>
        <p15:guide id="18" pos="1104" userDrawn="1">
          <p15:clr>
            <a:srgbClr val="A4A3A4"/>
          </p15:clr>
        </p15:guide>
        <p15:guide id="19" pos="4656" userDrawn="1">
          <p15:clr>
            <a:srgbClr val="A4A3A4"/>
          </p15:clr>
        </p15:guide>
        <p15:guide id="20" pos="4560" userDrawn="1">
          <p15:clr>
            <a:srgbClr val="A4A3A4"/>
          </p15:clr>
        </p15:guide>
        <p15:guide id="21" pos="3696" userDrawn="1">
          <p15:clr>
            <a:srgbClr val="A4A3A4"/>
          </p15:clr>
        </p15:guide>
        <p15:guide id="22" pos="12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C00"/>
    <a:srgbClr val="DC6900"/>
    <a:srgbClr val="FFB600"/>
    <a:srgbClr val="F36E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22" autoAdjust="0"/>
    <p:restoredTop sz="86420" autoAdjust="0"/>
  </p:normalViewPr>
  <p:slideViewPr>
    <p:cSldViewPr>
      <p:cViewPr>
        <p:scale>
          <a:sx n="100" d="100"/>
          <a:sy n="100" d="100"/>
        </p:scale>
        <p:origin x="1760" y="16"/>
      </p:cViewPr>
      <p:guideLst>
        <p:guide orient="horz" pos="144"/>
        <p:guide orient="horz" pos="436"/>
        <p:guide orient="horz" pos="4176"/>
        <p:guide orient="horz" pos="3888"/>
        <p:guide orient="horz" pos="3974"/>
        <p:guide orient="horz" pos="1104"/>
        <p:guide orient="horz" pos="1008"/>
        <p:guide orient="horz" pos="2448"/>
        <p:guide orient="horz" pos="3475"/>
        <p:guide orient="horz" pos="336"/>
        <p:guide pos="2832"/>
        <p:guide pos="336"/>
        <p:guide pos="5424"/>
        <p:guide pos="2928"/>
        <p:guide pos="1968"/>
        <p:guide pos="2070"/>
        <p:guide pos="3792"/>
        <p:guide pos="1104"/>
        <p:guide pos="4656"/>
        <p:guide pos="4560"/>
        <p:guide pos="3696"/>
        <p:guide pos="1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11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tags" Target="tags/tag1.xml"/><Relationship Id="rId16" Type="http://schemas.openxmlformats.org/officeDocument/2006/relationships/commentAuthors" Target="commentAuthors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D62F50-E995-4DE4-9B01-BE0DE250E143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79C4C76-88BF-41EC-A780-F9987AFF5ADB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1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08BECDE4-CF73-46AF-B34F-CC43CB82E22E}" type="parTrans" cxnId="{9FC80152-641D-4BED-B8FD-2F2E9F65A53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93365AF-F009-4587-9669-377094332577}" type="sibTrans" cxnId="{9FC80152-641D-4BED-B8FD-2F2E9F65A53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6E1ABF29-BFC2-4567-A32E-A0DA21110784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Project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Introduction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97632C-BC10-47A4-BD53-02B17989A2B8}" type="parTrans" cxnId="{4903DDF9-21F0-4C9C-A0E2-3F17F0E06AE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F0535F25-4B37-41A3-B100-44F301EDF472}" type="sibTrans" cxnId="{4903DDF9-21F0-4C9C-A0E2-3F17F0E06AE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C8739165-6426-4972-B253-14B51BFFD6BC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2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A14636DD-BEFE-4208-8FD5-D302E4C0CDC8}" type="parTrans" cxnId="{DB724E94-0097-455E-8F0E-2FD8D686BF2B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D969B0A6-C886-4CA5-8D8C-86F185CEF405}" type="sibTrans" cxnId="{DB724E94-0097-455E-8F0E-2FD8D686BF2B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5C684AF9-7F12-47A4-BA2B-04066DA82836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3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981AFEB2-A234-4E23-AA22-04FE29550FFB}" type="parTrans" cxnId="{76B4D83A-0523-4F95-9E11-B9968C4C50F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7E5A25BD-4636-4BE8-B013-FC9B3B2E33CF}" type="sibTrans" cxnId="{76B4D83A-0523-4F95-9E11-B9968C4C50FA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84E759F-23E3-4180-9213-1EEC4D2C622F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Selecting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800" b="1" i="0" u="none" dirty="0" smtClean="0">
              <a:latin typeface="Arial" charset="0"/>
              <a:ea typeface="Arial" charset="0"/>
              <a:cs typeface="Arial" charset="0"/>
            </a:rPr>
            <a:t>Neighbors</a:t>
          </a:r>
          <a:endParaRPr lang="en-GB" sz="1800" b="1" i="0" dirty="0">
            <a:latin typeface="Arial" charset="0"/>
            <a:ea typeface="Arial" charset="0"/>
            <a:cs typeface="Arial" charset="0"/>
          </a:endParaRPr>
        </a:p>
      </dgm:t>
    </dgm:pt>
    <dgm:pt modelId="{9D21ACBC-20E7-445C-9A2D-EF5FF2D7DFF9}" type="parTrans" cxnId="{511933A1-573A-46AA-A2CF-76C7D7534389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6E38299-BEA1-4A1D-BD8E-CA573D3CF0C1}" type="sibTrans" cxnId="{511933A1-573A-46AA-A2CF-76C7D7534389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AA4F0FD-DB71-413C-B2CC-E69824DA7B55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4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421567C9-0334-4235-A701-8A421D643BF1}" type="parTrans" cxnId="{F62818DF-F9EC-453A-9C70-BF5F773DF481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7B34A62-8893-4F3A-9653-5AEEC246C85A}" type="sibTrans" cxnId="{F62818DF-F9EC-453A-9C70-BF5F773DF481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E35BDC53-D18B-48F8-9716-9898590F3BF7}">
      <dgm:prSet phldrT="[Text]" custT="1"/>
      <dgm:spPr/>
      <dgm:t>
        <a:bodyPr/>
        <a:lstStyle/>
        <a:p>
          <a:r>
            <a:rPr lang="en-GB" sz="1400" b="1" i="1" dirty="0" smtClean="0">
              <a:latin typeface="+mj-lt"/>
            </a:rPr>
            <a:t> </a:t>
          </a:r>
          <a:r>
            <a:rPr lang="en-US" altLang="zh-CN" sz="1800" b="1" i="1" dirty="0" smtClean="0">
              <a:latin typeface="Times New Roman" charset="0"/>
              <a:ea typeface="Times New Roman" charset="0"/>
              <a:cs typeface="Times New Roman" charset="0"/>
            </a:rPr>
            <a:t>5</a:t>
          </a:r>
          <a:endParaRPr lang="en-GB" sz="1800" b="1" i="1" dirty="0">
            <a:latin typeface="Times New Roman" charset="0"/>
            <a:ea typeface="Times New Roman" charset="0"/>
            <a:cs typeface="Times New Roman" charset="0"/>
          </a:endParaRPr>
        </a:p>
      </dgm:t>
    </dgm:pt>
    <dgm:pt modelId="{3899A91C-E05B-4685-A97C-A057DAA8EDCA}" type="parTrans" cxnId="{1E04B3DB-DAF8-45A3-BAA1-F81ABBC788A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B0AA1FD3-86BA-4B07-81C7-9A2C75678382}" type="sibTrans" cxnId="{1E04B3DB-DAF8-45A3-BAA1-F81ABBC788A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C9270DE-7CE5-453D-8663-BF440AE5E4F6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Leftovers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0CF2280-59FE-4DA4-992A-BC4BD635A0DB}" type="parTrans" cxnId="{EFAB0196-0E42-42E5-8961-745F8A421EB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86286E00-EA88-487B-8745-9897376B9F90}" type="sibTrans" cxnId="{EFAB0196-0E42-42E5-8961-745F8A421EB4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37A55D14-15BB-454A-9D9A-E79D2DF8BD46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Memory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CE27BC4-44DA-4FF1-9AC5-C7EBFFE5895A}" type="parTrans" cxnId="{B7E9FC48-6B80-4517-9EF4-AC39DF601373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DB965463-E703-4422-9537-1B4A414F7552}" type="sibTrans" cxnId="{B7E9FC48-6B80-4517-9EF4-AC39DF601373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AEC37B83-3B4A-441A-BF68-A43BAB71F4EA}">
      <dgm:prSet phldrT="[Text]" custT="1"/>
      <dgm:spPr>
        <a:ln w="9525">
          <a:solidFill>
            <a:schemeClr val="accent1"/>
          </a:solidFill>
          <a:prstDash val="sysDot"/>
        </a:ln>
      </dgm:spPr>
      <dgm:t>
        <a:bodyPr/>
        <a:lstStyle/>
        <a:p>
          <a:r>
            <a:rPr lang="en-US" altLang="zh-CN" sz="1800" b="1" i="0" dirty="0" smtClean="0">
              <a:latin typeface="Arial" panose="020B0604020202020204" pitchFamily="34" charset="0"/>
              <a:cs typeface="Arial" panose="020B0604020202020204" pitchFamily="34" charset="0"/>
            </a:rPr>
            <a:t>Model</a:t>
          </a:r>
          <a:r>
            <a:rPr lang="zh-CN" altLang="en-US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baseline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71B48D-39A1-4DC4-837A-5D1437E247C3}" type="parTrans" cxnId="{F9F919D5-0A50-4403-BF93-4277B3E8AC78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55129938-E69D-492E-ACF2-CC5C45FA46C4}" type="sibTrans" cxnId="{F9F919D5-0A50-4403-BF93-4277B3E8AC78}">
      <dgm:prSet/>
      <dgm:spPr/>
      <dgm:t>
        <a:bodyPr/>
        <a:lstStyle/>
        <a:p>
          <a:endParaRPr lang="en-GB" b="1" i="1">
            <a:latin typeface="+mj-lt"/>
          </a:endParaRPr>
        </a:p>
      </dgm:t>
    </dgm:pt>
    <dgm:pt modelId="{A3D506CA-C7EA-428A-8370-8F9037206A73}" type="pres">
      <dgm:prSet presAssocID="{ECD62F50-E995-4DE4-9B01-BE0DE250E14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0CC254B-1FB1-4024-81DD-0DB60D8BC685}" type="pres">
      <dgm:prSet presAssocID="{479C4C76-88BF-41EC-A780-F9987AFF5ADB}" presName="composite" presStyleCnt="0"/>
      <dgm:spPr/>
    </dgm:pt>
    <dgm:pt modelId="{ED534429-3977-4F16-967D-2FD32EB74BD3}" type="pres">
      <dgm:prSet presAssocID="{479C4C76-88BF-41EC-A780-F9987AFF5ADB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A8D21BE-7684-40C8-87BB-831DEA71A03B}" type="pres">
      <dgm:prSet presAssocID="{479C4C76-88BF-41EC-A780-F9987AFF5ADB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11AD8C0-94B5-43DC-806D-2DA7553B2466}" type="pres">
      <dgm:prSet presAssocID="{B93365AF-F009-4587-9669-377094332577}" presName="sp" presStyleCnt="0"/>
      <dgm:spPr/>
    </dgm:pt>
    <dgm:pt modelId="{708F78B4-E13A-472F-BB09-44E01B775FAE}" type="pres">
      <dgm:prSet presAssocID="{C8739165-6426-4972-B253-14B51BFFD6BC}" presName="composite" presStyleCnt="0"/>
      <dgm:spPr/>
    </dgm:pt>
    <dgm:pt modelId="{A6008CA4-19E6-4354-AD91-6F608F033CB9}" type="pres">
      <dgm:prSet presAssocID="{C8739165-6426-4972-B253-14B51BFFD6BC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119F3E3-EEAA-483C-9690-C6297DDEAC04}" type="pres">
      <dgm:prSet presAssocID="{C8739165-6426-4972-B253-14B51BFFD6BC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8909499-C6EF-4910-860D-951E12824650}" type="pres">
      <dgm:prSet presAssocID="{D969B0A6-C886-4CA5-8D8C-86F185CEF405}" presName="sp" presStyleCnt="0"/>
      <dgm:spPr/>
    </dgm:pt>
    <dgm:pt modelId="{04B9EABC-78B1-4C88-BAE0-60D1C54D9742}" type="pres">
      <dgm:prSet presAssocID="{5C684AF9-7F12-47A4-BA2B-04066DA82836}" presName="composite" presStyleCnt="0"/>
      <dgm:spPr/>
    </dgm:pt>
    <dgm:pt modelId="{3CC19144-9CD2-4CA1-937F-4746C46597C4}" type="pres">
      <dgm:prSet presAssocID="{5C684AF9-7F12-47A4-BA2B-04066DA82836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21539C6-AAE9-4425-80A4-CBCD0273D53C}" type="pres">
      <dgm:prSet presAssocID="{5C684AF9-7F12-47A4-BA2B-04066DA82836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A3374A6-31D6-42CE-A7F1-17E59CC26890}" type="pres">
      <dgm:prSet presAssocID="{7E5A25BD-4636-4BE8-B013-FC9B3B2E33CF}" presName="sp" presStyleCnt="0"/>
      <dgm:spPr/>
    </dgm:pt>
    <dgm:pt modelId="{D7FFEFB0-62F6-4768-B146-AB0E8F30F0BD}" type="pres">
      <dgm:prSet presAssocID="{8AA4F0FD-DB71-413C-B2CC-E69824DA7B55}" presName="composite" presStyleCnt="0"/>
      <dgm:spPr/>
    </dgm:pt>
    <dgm:pt modelId="{5273784B-DB70-4AFD-8807-81718F60B682}" type="pres">
      <dgm:prSet presAssocID="{8AA4F0FD-DB71-413C-B2CC-E69824DA7B55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E3F4764-1426-4F71-872B-1BF4D2729770}" type="pres">
      <dgm:prSet presAssocID="{8AA4F0FD-DB71-413C-B2CC-E69824DA7B55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7EB769E-A919-4996-A721-6176AF7B929C}" type="pres">
      <dgm:prSet presAssocID="{E7B34A62-8893-4F3A-9653-5AEEC246C85A}" presName="sp" presStyleCnt="0"/>
      <dgm:spPr/>
    </dgm:pt>
    <dgm:pt modelId="{DF8BA825-30E1-467B-9A73-DACDBB338FB1}" type="pres">
      <dgm:prSet presAssocID="{E35BDC53-D18B-48F8-9716-9898590F3BF7}" presName="composite" presStyleCnt="0"/>
      <dgm:spPr/>
    </dgm:pt>
    <dgm:pt modelId="{96E9877A-FADA-42AB-830F-437BFC326089}" type="pres">
      <dgm:prSet presAssocID="{E35BDC53-D18B-48F8-9716-9898590F3BF7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02C0E5-5511-4B6C-9FAF-A12E390F415B}" type="pres">
      <dgm:prSet presAssocID="{E35BDC53-D18B-48F8-9716-9898590F3BF7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62818DF-F9EC-453A-9C70-BF5F773DF481}" srcId="{ECD62F50-E995-4DE4-9B01-BE0DE250E143}" destId="{8AA4F0FD-DB71-413C-B2CC-E69824DA7B55}" srcOrd="3" destOrd="0" parTransId="{421567C9-0334-4235-A701-8A421D643BF1}" sibTransId="{E7B34A62-8893-4F3A-9653-5AEEC246C85A}"/>
    <dgm:cxn modelId="{791029D7-306D-2C4B-9FFB-1742E7FBE32E}" type="presOf" srcId="{B84E759F-23E3-4180-9213-1EEC4D2C622F}" destId="{321539C6-AAE9-4425-80A4-CBCD0273D53C}" srcOrd="0" destOrd="0" presId="urn:microsoft.com/office/officeart/2005/8/layout/chevron2"/>
    <dgm:cxn modelId="{76B4D83A-0523-4F95-9E11-B9968C4C50FA}" srcId="{ECD62F50-E995-4DE4-9B01-BE0DE250E143}" destId="{5C684AF9-7F12-47A4-BA2B-04066DA82836}" srcOrd="2" destOrd="0" parTransId="{981AFEB2-A234-4E23-AA22-04FE29550FFB}" sibTransId="{7E5A25BD-4636-4BE8-B013-FC9B3B2E33CF}"/>
    <dgm:cxn modelId="{2A7D9913-E0F2-FE45-8EE3-0E4E9FD876F4}" type="presOf" srcId="{6E1ABF29-BFC2-4567-A32E-A0DA21110784}" destId="{AA8D21BE-7684-40C8-87BB-831DEA71A03B}" srcOrd="0" destOrd="0" presId="urn:microsoft.com/office/officeart/2005/8/layout/chevron2"/>
    <dgm:cxn modelId="{AAE33154-598A-9749-B314-6DB6FE023C9E}" type="presOf" srcId="{37A55D14-15BB-454A-9D9A-E79D2DF8BD46}" destId="{6119F3E3-EEAA-483C-9690-C6297DDEAC04}" srcOrd="0" destOrd="0" presId="urn:microsoft.com/office/officeart/2005/8/layout/chevron2"/>
    <dgm:cxn modelId="{4903DDF9-21F0-4C9C-A0E2-3F17F0E06AEA}" srcId="{479C4C76-88BF-41EC-A780-F9987AFF5ADB}" destId="{6E1ABF29-BFC2-4567-A32E-A0DA21110784}" srcOrd="0" destOrd="0" parTransId="{AD97632C-BC10-47A4-BD53-02B17989A2B8}" sibTransId="{F0535F25-4B37-41A3-B100-44F301EDF472}"/>
    <dgm:cxn modelId="{A2A7AC56-AE51-564F-AC0B-4A3932AA3B61}" type="presOf" srcId="{5C684AF9-7F12-47A4-BA2B-04066DA82836}" destId="{3CC19144-9CD2-4CA1-937F-4746C46597C4}" srcOrd="0" destOrd="0" presId="urn:microsoft.com/office/officeart/2005/8/layout/chevron2"/>
    <dgm:cxn modelId="{9D990A7D-E7C7-8642-8F8D-E542DD1E4CE0}" type="presOf" srcId="{ECD62F50-E995-4DE4-9B01-BE0DE250E143}" destId="{A3D506CA-C7EA-428A-8370-8F9037206A73}" srcOrd="0" destOrd="0" presId="urn:microsoft.com/office/officeart/2005/8/layout/chevron2"/>
    <dgm:cxn modelId="{7DFE784A-68B4-7345-A1C1-378C1686F396}" type="presOf" srcId="{C8739165-6426-4972-B253-14B51BFFD6BC}" destId="{A6008CA4-19E6-4354-AD91-6F608F033CB9}" srcOrd="0" destOrd="0" presId="urn:microsoft.com/office/officeart/2005/8/layout/chevron2"/>
    <dgm:cxn modelId="{1E04B3DB-DAF8-45A3-BAA1-F81ABBC788A4}" srcId="{ECD62F50-E995-4DE4-9B01-BE0DE250E143}" destId="{E35BDC53-D18B-48F8-9716-9898590F3BF7}" srcOrd="4" destOrd="0" parTransId="{3899A91C-E05B-4685-A97C-A057DAA8EDCA}" sibTransId="{B0AA1FD3-86BA-4B07-81C7-9A2C75678382}"/>
    <dgm:cxn modelId="{B7E9FC48-6B80-4517-9EF4-AC39DF601373}" srcId="{C8739165-6426-4972-B253-14B51BFFD6BC}" destId="{37A55D14-15BB-454A-9D9A-E79D2DF8BD46}" srcOrd="0" destOrd="0" parTransId="{5CE27BC4-44DA-4FF1-9AC5-C7EBFFE5895A}" sibTransId="{DB965463-E703-4422-9537-1B4A414F7552}"/>
    <dgm:cxn modelId="{511933A1-573A-46AA-A2CF-76C7D7534389}" srcId="{5C684AF9-7F12-47A4-BA2B-04066DA82836}" destId="{B84E759F-23E3-4180-9213-1EEC4D2C622F}" srcOrd="0" destOrd="0" parTransId="{9D21ACBC-20E7-445C-9A2D-EF5FF2D7DFF9}" sibTransId="{E6E38299-BEA1-4A1D-BD8E-CA573D3CF0C1}"/>
    <dgm:cxn modelId="{F9F919D5-0A50-4403-BF93-4277B3E8AC78}" srcId="{8AA4F0FD-DB71-413C-B2CC-E69824DA7B55}" destId="{AEC37B83-3B4A-441A-BF68-A43BAB71F4EA}" srcOrd="0" destOrd="0" parTransId="{4E71B48D-39A1-4DC4-837A-5D1437E247C3}" sibTransId="{55129938-E69D-492E-ACF2-CC5C45FA46C4}"/>
    <dgm:cxn modelId="{DB724E94-0097-455E-8F0E-2FD8D686BF2B}" srcId="{ECD62F50-E995-4DE4-9B01-BE0DE250E143}" destId="{C8739165-6426-4972-B253-14B51BFFD6BC}" srcOrd="1" destOrd="0" parTransId="{A14636DD-BEFE-4208-8FD5-D302E4C0CDC8}" sibTransId="{D969B0A6-C886-4CA5-8D8C-86F185CEF405}"/>
    <dgm:cxn modelId="{4EE6AF00-027C-D844-BCDB-4B8FE5275A44}" type="presOf" srcId="{479C4C76-88BF-41EC-A780-F9987AFF5ADB}" destId="{ED534429-3977-4F16-967D-2FD32EB74BD3}" srcOrd="0" destOrd="0" presId="urn:microsoft.com/office/officeart/2005/8/layout/chevron2"/>
    <dgm:cxn modelId="{EFAB0196-0E42-42E5-8961-745F8A421EB4}" srcId="{E35BDC53-D18B-48F8-9716-9898590F3BF7}" destId="{8C9270DE-7CE5-453D-8663-BF440AE5E4F6}" srcOrd="0" destOrd="0" parTransId="{F0CF2280-59FE-4DA4-992A-BC4BD635A0DB}" sibTransId="{86286E00-EA88-487B-8745-9897376B9F90}"/>
    <dgm:cxn modelId="{9FC80152-641D-4BED-B8FD-2F2E9F65A53A}" srcId="{ECD62F50-E995-4DE4-9B01-BE0DE250E143}" destId="{479C4C76-88BF-41EC-A780-F9987AFF5ADB}" srcOrd="0" destOrd="0" parTransId="{08BECDE4-CF73-46AF-B34F-CC43CB82E22E}" sibTransId="{B93365AF-F009-4587-9669-377094332577}"/>
    <dgm:cxn modelId="{BCB8A00C-AA3B-9A4B-8FB9-E13E5BE2C8F8}" type="presOf" srcId="{AEC37B83-3B4A-441A-BF68-A43BAB71F4EA}" destId="{DE3F4764-1426-4F71-872B-1BF4D2729770}" srcOrd="0" destOrd="0" presId="urn:microsoft.com/office/officeart/2005/8/layout/chevron2"/>
    <dgm:cxn modelId="{DAD39855-92FA-1640-9E06-FBBFF24287EA}" type="presOf" srcId="{E35BDC53-D18B-48F8-9716-9898590F3BF7}" destId="{96E9877A-FADA-42AB-830F-437BFC326089}" srcOrd="0" destOrd="0" presId="urn:microsoft.com/office/officeart/2005/8/layout/chevron2"/>
    <dgm:cxn modelId="{B8C8E205-B8A5-8D44-ABAE-3CAB080B54F7}" type="presOf" srcId="{8AA4F0FD-DB71-413C-B2CC-E69824DA7B55}" destId="{5273784B-DB70-4AFD-8807-81718F60B682}" srcOrd="0" destOrd="0" presId="urn:microsoft.com/office/officeart/2005/8/layout/chevron2"/>
    <dgm:cxn modelId="{858ABA6D-7C70-E94E-8A75-650869CBBAC6}" type="presOf" srcId="{8C9270DE-7CE5-453D-8663-BF440AE5E4F6}" destId="{A202C0E5-5511-4B6C-9FAF-A12E390F415B}" srcOrd="0" destOrd="0" presId="urn:microsoft.com/office/officeart/2005/8/layout/chevron2"/>
    <dgm:cxn modelId="{1D5670B3-2A3A-2B47-A15D-41BC690A13C2}" type="presParOf" srcId="{A3D506CA-C7EA-428A-8370-8F9037206A73}" destId="{A0CC254B-1FB1-4024-81DD-0DB60D8BC685}" srcOrd="0" destOrd="0" presId="urn:microsoft.com/office/officeart/2005/8/layout/chevron2"/>
    <dgm:cxn modelId="{1DC76B73-BEB0-DF48-9CA6-931250660055}" type="presParOf" srcId="{A0CC254B-1FB1-4024-81DD-0DB60D8BC685}" destId="{ED534429-3977-4F16-967D-2FD32EB74BD3}" srcOrd="0" destOrd="0" presId="urn:microsoft.com/office/officeart/2005/8/layout/chevron2"/>
    <dgm:cxn modelId="{A180F9B9-9436-F044-9AB3-3B566CF74DDB}" type="presParOf" srcId="{A0CC254B-1FB1-4024-81DD-0DB60D8BC685}" destId="{AA8D21BE-7684-40C8-87BB-831DEA71A03B}" srcOrd="1" destOrd="0" presId="urn:microsoft.com/office/officeart/2005/8/layout/chevron2"/>
    <dgm:cxn modelId="{31780D73-DF57-304E-A967-1CDDEF16FDBC}" type="presParOf" srcId="{A3D506CA-C7EA-428A-8370-8F9037206A73}" destId="{911AD8C0-94B5-43DC-806D-2DA7553B2466}" srcOrd="1" destOrd="0" presId="urn:microsoft.com/office/officeart/2005/8/layout/chevron2"/>
    <dgm:cxn modelId="{A8ECF2BD-9BAB-1344-9F1E-BEF765381816}" type="presParOf" srcId="{A3D506CA-C7EA-428A-8370-8F9037206A73}" destId="{708F78B4-E13A-472F-BB09-44E01B775FAE}" srcOrd="2" destOrd="0" presId="urn:microsoft.com/office/officeart/2005/8/layout/chevron2"/>
    <dgm:cxn modelId="{09B09B94-18D4-1049-9083-AFCFBBB6D6E7}" type="presParOf" srcId="{708F78B4-E13A-472F-BB09-44E01B775FAE}" destId="{A6008CA4-19E6-4354-AD91-6F608F033CB9}" srcOrd="0" destOrd="0" presId="urn:microsoft.com/office/officeart/2005/8/layout/chevron2"/>
    <dgm:cxn modelId="{3B0B2D7F-AC46-B042-8427-A49C8C995A8F}" type="presParOf" srcId="{708F78B4-E13A-472F-BB09-44E01B775FAE}" destId="{6119F3E3-EEAA-483C-9690-C6297DDEAC04}" srcOrd="1" destOrd="0" presId="urn:microsoft.com/office/officeart/2005/8/layout/chevron2"/>
    <dgm:cxn modelId="{FC2B3B6B-DF1C-164D-96EC-E1A11F13FFF4}" type="presParOf" srcId="{A3D506CA-C7EA-428A-8370-8F9037206A73}" destId="{58909499-C6EF-4910-860D-951E12824650}" srcOrd="3" destOrd="0" presId="urn:microsoft.com/office/officeart/2005/8/layout/chevron2"/>
    <dgm:cxn modelId="{134665EF-1127-7041-AB9F-ABC80B107460}" type="presParOf" srcId="{A3D506CA-C7EA-428A-8370-8F9037206A73}" destId="{04B9EABC-78B1-4C88-BAE0-60D1C54D9742}" srcOrd="4" destOrd="0" presId="urn:microsoft.com/office/officeart/2005/8/layout/chevron2"/>
    <dgm:cxn modelId="{DBB02F5A-0C36-8848-9C4D-575C4E14A5C3}" type="presParOf" srcId="{04B9EABC-78B1-4C88-BAE0-60D1C54D9742}" destId="{3CC19144-9CD2-4CA1-937F-4746C46597C4}" srcOrd="0" destOrd="0" presId="urn:microsoft.com/office/officeart/2005/8/layout/chevron2"/>
    <dgm:cxn modelId="{5A74FCD1-9AD9-7743-862B-AA3E29461B7C}" type="presParOf" srcId="{04B9EABC-78B1-4C88-BAE0-60D1C54D9742}" destId="{321539C6-AAE9-4425-80A4-CBCD0273D53C}" srcOrd="1" destOrd="0" presId="urn:microsoft.com/office/officeart/2005/8/layout/chevron2"/>
    <dgm:cxn modelId="{5101765C-D505-1047-8DB5-79BA0F04147E}" type="presParOf" srcId="{A3D506CA-C7EA-428A-8370-8F9037206A73}" destId="{9A3374A6-31D6-42CE-A7F1-17E59CC26890}" srcOrd="5" destOrd="0" presId="urn:microsoft.com/office/officeart/2005/8/layout/chevron2"/>
    <dgm:cxn modelId="{DF4DE306-E0F7-4E4A-A5F3-E36A7DF2D26C}" type="presParOf" srcId="{A3D506CA-C7EA-428A-8370-8F9037206A73}" destId="{D7FFEFB0-62F6-4768-B146-AB0E8F30F0BD}" srcOrd="6" destOrd="0" presId="urn:microsoft.com/office/officeart/2005/8/layout/chevron2"/>
    <dgm:cxn modelId="{16EF1DC1-D13D-B14A-8446-6AE1431DF456}" type="presParOf" srcId="{D7FFEFB0-62F6-4768-B146-AB0E8F30F0BD}" destId="{5273784B-DB70-4AFD-8807-81718F60B682}" srcOrd="0" destOrd="0" presId="urn:microsoft.com/office/officeart/2005/8/layout/chevron2"/>
    <dgm:cxn modelId="{8E72FEA2-7718-8244-ABD5-94CA2A4676FF}" type="presParOf" srcId="{D7FFEFB0-62F6-4768-B146-AB0E8F30F0BD}" destId="{DE3F4764-1426-4F71-872B-1BF4D2729770}" srcOrd="1" destOrd="0" presId="urn:microsoft.com/office/officeart/2005/8/layout/chevron2"/>
    <dgm:cxn modelId="{DE7ACEAA-6D11-FA42-9C65-C22CA6586451}" type="presParOf" srcId="{A3D506CA-C7EA-428A-8370-8F9037206A73}" destId="{57EB769E-A919-4996-A721-6176AF7B929C}" srcOrd="7" destOrd="0" presId="urn:microsoft.com/office/officeart/2005/8/layout/chevron2"/>
    <dgm:cxn modelId="{E3C33370-6AC5-4041-8941-93AA080E1926}" type="presParOf" srcId="{A3D506CA-C7EA-428A-8370-8F9037206A73}" destId="{DF8BA825-30E1-467B-9A73-DACDBB338FB1}" srcOrd="8" destOrd="0" presId="urn:microsoft.com/office/officeart/2005/8/layout/chevron2"/>
    <dgm:cxn modelId="{5FC20401-9A20-1044-BFAD-CDF6ECA1F897}" type="presParOf" srcId="{DF8BA825-30E1-467B-9A73-DACDBB338FB1}" destId="{96E9877A-FADA-42AB-830F-437BFC326089}" srcOrd="0" destOrd="0" presId="urn:microsoft.com/office/officeart/2005/8/layout/chevron2"/>
    <dgm:cxn modelId="{232EB7D7-5890-D24E-B5C8-341AE3D70E1A}" type="presParOf" srcId="{DF8BA825-30E1-467B-9A73-DACDBB338FB1}" destId="{A202C0E5-5511-4B6C-9FAF-A12E390F415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534429-3977-4F16-967D-2FD32EB74BD3}">
      <dsp:nvSpPr>
        <dsp:cNvPr id="0" name=""/>
        <dsp:cNvSpPr/>
      </dsp:nvSpPr>
      <dsp:spPr>
        <a:xfrm rot="5400000">
          <a:off x="-128702" y="130697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1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302300"/>
        <a:ext cx="600612" cy="257406"/>
      </dsp:txXfrm>
    </dsp:sp>
    <dsp:sp modelId="{AA8D21BE-7684-40C8-87BB-831DEA71A03B}">
      <dsp:nvSpPr>
        <dsp:cNvPr id="0" name=""/>
        <dsp:cNvSpPr/>
      </dsp:nvSpPr>
      <dsp:spPr>
        <a:xfrm rot="5400000">
          <a:off x="2301058" y="-1698450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Project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Introduction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9220"/>
        <a:ext cx="3931378" cy="503261"/>
      </dsp:txXfrm>
    </dsp:sp>
    <dsp:sp modelId="{A6008CA4-19E6-4354-AD91-6F608F033CB9}">
      <dsp:nvSpPr>
        <dsp:cNvPr id="0" name=""/>
        <dsp:cNvSpPr/>
      </dsp:nvSpPr>
      <dsp:spPr>
        <a:xfrm rot="5400000">
          <a:off x="-128702" y="868135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2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1039738"/>
        <a:ext cx="600612" cy="257406"/>
      </dsp:txXfrm>
    </dsp:sp>
    <dsp:sp modelId="{6119F3E3-EEAA-483C-9690-C6297DDEAC04}">
      <dsp:nvSpPr>
        <dsp:cNvPr id="0" name=""/>
        <dsp:cNvSpPr/>
      </dsp:nvSpPr>
      <dsp:spPr>
        <a:xfrm rot="5400000">
          <a:off x="2301058" y="-961012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Memory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766658"/>
        <a:ext cx="3931378" cy="503261"/>
      </dsp:txXfrm>
    </dsp:sp>
    <dsp:sp modelId="{3CC19144-9CD2-4CA1-937F-4746C46597C4}">
      <dsp:nvSpPr>
        <dsp:cNvPr id="0" name=""/>
        <dsp:cNvSpPr/>
      </dsp:nvSpPr>
      <dsp:spPr>
        <a:xfrm rot="5400000">
          <a:off x="-128702" y="1605573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3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1777176"/>
        <a:ext cx="600612" cy="257406"/>
      </dsp:txXfrm>
    </dsp:sp>
    <dsp:sp modelId="{321539C6-AAE9-4425-80A4-CBCD0273D53C}">
      <dsp:nvSpPr>
        <dsp:cNvPr id="0" name=""/>
        <dsp:cNvSpPr/>
      </dsp:nvSpPr>
      <dsp:spPr>
        <a:xfrm rot="5400000">
          <a:off x="2301058" y="-223574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Selecting</a:t>
          </a:r>
          <a:r>
            <a:rPr lang="zh-CN" altLang="en-US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800" b="1" i="0" u="none" kern="1200" dirty="0" smtClean="0">
              <a:latin typeface="Arial" charset="0"/>
              <a:ea typeface="Arial" charset="0"/>
              <a:cs typeface="Arial" charset="0"/>
            </a:rPr>
            <a:t>Neighbors</a:t>
          </a:r>
          <a:endParaRPr lang="en-GB" sz="1800" b="1" i="0" kern="1200" dirty="0">
            <a:latin typeface="Arial" charset="0"/>
            <a:ea typeface="Arial" charset="0"/>
            <a:cs typeface="Arial" charset="0"/>
          </a:endParaRPr>
        </a:p>
      </dsp:txBody>
      <dsp:txXfrm rot="-5400000">
        <a:off x="600613" y="1504096"/>
        <a:ext cx="3931378" cy="503261"/>
      </dsp:txXfrm>
    </dsp:sp>
    <dsp:sp modelId="{5273784B-DB70-4AFD-8807-81718F60B682}">
      <dsp:nvSpPr>
        <dsp:cNvPr id="0" name=""/>
        <dsp:cNvSpPr/>
      </dsp:nvSpPr>
      <dsp:spPr>
        <a:xfrm rot="5400000">
          <a:off x="-128702" y="2343011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4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2514614"/>
        <a:ext cx="600612" cy="257406"/>
      </dsp:txXfrm>
    </dsp:sp>
    <dsp:sp modelId="{DE3F4764-1426-4F71-872B-1BF4D2729770}">
      <dsp:nvSpPr>
        <dsp:cNvPr id="0" name=""/>
        <dsp:cNvSpPr/>
      </dsp:nvSpPr>
      <dsp:spPr>
        <a:xfrm rot="5400000">
          <a:off x="2301058" y="513863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Model</a:t>
          </a:r>
          <a:r>
            <a:rPr lang="zh-CN" altLang="en-US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zh-CN" altLang="en-US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altLang="zh-CN" sz="1800" b="1" i="0" kern="1200" baseline="0" dirty="0" smtClean="0">
              <a:latin typeface="Arial" panose="020B0604020202020204" pitchFamily="34" charset="0"/>
              <a:cs typeface="Arial" panose="020B0604020202020204" pitchFamily="34" charset="0"/>
            </a:rPr>
            <a:t>Performance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241534"/>
        <a:ext cx="3931378" cy="503261"/>
      </dsp:txXfrm>
    </dsp:sp>
    <dsp:sp modelId="{96E9877A-FADA-42AB-830F-437BFC326089}">
      <dsp:nvSpPr>
        <dsp:cNvPr id="0" name=""/>
        <dsp:cNvSpPr/>
      </dsp:nvSpPr>
      <dsp:spPr>
        <a:xfrm rot="5400000">
          <a:off x="-128702" y="3080449"/>
          <a:ext cx="858018" cy="60061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i="1" kern="1200" dirty="0" smtClean="0">
              <a:latin typeface="+mj-lt"/>
            </a:rPr>
            <a:t> </a:t>
          </a:r>
          <a:r>
            <a:rPr lang="en-US" altLang="zh-CN" sz="1800" b="1" i="1" kern="1200" dirty="0" smtClean="0">
              <a:latin typeface="Times New Roman" charset="0"/>
              <a:ea typeface="Times New Roman" charset="0"/>
              <a:cs typeface="Times New Roman" charset="0"/>
            </a:rPr>
            <a:t>5</a:t>
          </a:r>
          <a:endParaRPr lang="en-GB" sz="1800" b="1" i="1" kern="1200" dirty="0">
            <a:latin typeface="Times New Roman" charset="0"/>
            <a:ea typeface="Times New Roman" charset="0"/>
            <a:cs typeface="Times New Roman" charset="0"/>
          </a:endParaRPr>
        </a:p>
      </dsp:txBody>
      <dsp:txXfrm rot="-5400000">
        <a:off x="1" y="3252052"/>
        <a:ext cx="600612" cy="257406"/>
      </dsp:txXfrm>
    </dsp:sp>
    <dsp:sp modelId="{A202C0E5-5511-4B6C-9FAF-A12E390F415B}">
      <dsp:nvSpPr>
        <dsp:cNvPr id="0" name=""/>
        <dsp:cNvSpPr/>
      </dsp:nvSpPr>
      <dsp:spPr>
        <a:xfrm rot="5400000">
          <a:off x="2301058" y="1251301"/>
          <a:ext cx="557711" cy="395860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/>
          </a:solidFill>
          <a:prstDash val="sysDot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Leftovers</a:t>
          </a:r>
          <a:endParaRPr lang="en-GB" sz="18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600613" y="2978972"/>
        <a:ext cx="3931378" cy="5032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4/9/18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1842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smtClean="0"/>
              <a:pPr/>
              <a:t>4/9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161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63271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917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4959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9196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4587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985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940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295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731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68B5A3-80CE-4636-8CDB-E2341073365D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67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9196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smtClean="0"/>
              <a:t>July 2016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D948CB-4999-49CB-B377-4C7BB8B26C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9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9" r:id="rId12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6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D7F86-1881-4698-8703-FB80B0800997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115" name="Freeform 25"/>
          <p:cNvSpPr>
            <a:spLocks noEditPoints="1"/>
          </p:cNvSpPr>
          <p:nvPr/>
        </p:nvSpPr>
        <p:spPr bwMode="auto">
          <a:xfrm>
            <a:off x="0" y="2654450"/>
            <a:ext cx="9144000" cy="4302942"/>
          </a:xfrm>
          <a:custGeom>
            <a:avLst/>
            <a:gdLst/>
            <a:ahLst/>
            <a:cxnLst>
              <a:cxn ang="0">
                <a:pos x="555" y="276"/>
              </a:cxn>
              <a:cxn ang="0">
                <a:pos x="544" y="262"/>
              </a:cxn>
              <a:cxn ang="0">
                <a:pos x="538" y="263"/>
              </a:cxn>
              <a:cxn ang="0">
                <a:pos x="520" y="204"/>
              </a:cxn>
              <a:cxn ang="0">
                <a:pos x="438" y="296"/>
              </a:cxn>
              <a:cxn ang="0">
                <a:pos x="418" y="219"/>
              </a:cxn>
              <a:cxn ang="0">
                <a:pos x="355" y="226"/>
              </a:cxn>
              <a:cxn ang="0">
                <a:pos x="326" y="309"/>
              </a:cxn>
              <a:cxn ang="0">
                <a:pos x="301" y="319"/>
              </a:cxn>
              <a:cxn ang="0">
                <a:pos x="246" y="387"/>
              </a:cxn>
              <a:cxn ang="0">
                <a:pos x="239" y="384"/>
              </a:cxn>
              <a:cxn ang="0">
                <a:pos x="223" y="382"/>
              </a:cxn>
              <a:cxn ang="0">
                <a:pos x="191" y="384"/>
              </a:cxn>
              <a:cxn ang="0">
                <a:pos x="186" y="400"/>
              </a:cxn>
              <a:cxn ang="0">
                <a:pos x="165" y="401"/>
              </a:cxn>
              <a:cxn ang="0">
                <a:pos x="151" y="383"/>
              </a:cxn>
              <a:cxn ang="0">
                <a:pos x="94" y="380"/>
              </a:cxn>
              <a:cxn ang="0">
                <a:pos x="57" y="400"/>
              </a:cxn>
              <a:cxn ang="0">
                <a:pos x="47" y="389"/>
              </a:cxn>
              <a:cxn ang="0">
                <a:pos x="41" y="391"/>
              </a:cxn>
              <a:cxn ang="0">
                <a:pos x="32" y="403"/>
              </a:cxn>
              <a:cxn ang="0">
                <a:pos x="24" y="407"/>
              </a:cxn>
              <a:cxn ang="0">
                <a:pos x="19" y="415"/>
              </a:cxn>
              <a:cxn ang="0">
                <a:pos x="0" y="683"/>
              </a:cxn>
              <a:cxn ang="0">
                <a:pos x="1541" y="426"/>
              </a:cxn>
              <a:cxn ang="0">
                <a:pos x="1545" y="413"/>
              </a:cxn>
              <a:cxn ang="0">
                <a:pos x="1532" y="415"/>
              </a:cxn>
              <a:cxn ang="0">
                <a:pos x="1527" y="407"/>
              </a:cxn>
              <a:cxn ang="0">
                <a:pos x="1519" y="419"/>
              </a:cxn>
              <a:cxn ang="0">
                <a:pos x="1503" y="411"/>
              </a:cxn>
              <a:cxn ang="0">
                <a:pos x="1417" y="392"/>
              </a:cxn>
              <a:cxn ang="0">
                <a:pos x="1397" y="226"/>
              </a:cxn>
              <a:cxn ang="0">
                <a:pos x="1236" y="226"/>
              </a:cxn>
              <a:cxn ang="0">
                <a:pos x="1154" y="161"/>
              </a:cxn>
              <a:cxn ang="0">
                <a:pos x="1097" y="400"/>
              </a:cxn>
              <a:cxn ang="0">
                <a:pos x="1004" y="208"/>
              </a:cxn>
              <a:cxn ang="0">
                <a:pos x="960" y="227"/>
              </a:cxn>
              <a:cxn ang="0">
                <a:pos x="849" y="67"/>
              </a:cxn>
              <a:cxn ang="0">
                <a:pos x="814" y="341"/>
              </a:cxn>
              <a:cxn ang="0">
                <a:pos x="756" y="63"/>
              </a:cxn>
              <a:cxn ang="0">
                <a:pos x="714" y="100"/>
              </a:cxn>
              <a:cxn ang="0">
                <a:pos x="684" y="265"/>
              </a:cxn>
              <a:cxn ang="0">
                <a:pos x="671" y="243"/>
              </a:cxn>
              <a:cxn ang="0">
                <a:pos x="561" y="285"/>
              </a:cxn>
              <a:cxn ang="0">
                <a:pos x="739" y="90"/>
              </a:cxn>
              <a:cxn ang="0">
                <a:pos x="754" y="80"/>
              </a:cxn>
              <a:cxn ang="0">
                <a:pos x="552" y="281"/>
              </a:cxn>
              <a:cxn ang="0">
                <a:pos x="552" y="291"/>
              </a:cxn>
              <a:cxn ang="0">
                <a:pos x="569" y="295"/>
              </a:cxn>
              <a:cxn ang="0">
                <a:pos x="561" y="300"/>
              </a:cxn>
              <a:cxn ang="0">
                <a:pos x="620" y="302"/>
              </a:cxn>
              <a:cxn ang="0">
                <a:pos x="570" y="307"/>
              </a:cxn>
              <a:cxn ang="0">
                <a:pos x="1215" y="324"/>
              </a:cxn>
              <a:cxn ang="0">
                <a:pos x="1399" y="359"/>
              </a:cxn>
              <a:cxn ang="0">
                <a:pos x="1230" y="403"/>
              </a:cxn>
              <a:cxn ang="0">
                <a:pos x="1234" y="374"/>
              </a:cxn>
            </a:cxnLst>
            <a:rect l="0" t="0" r="r" b="b"/>
            <a:pathLst>
              <a:path w="1624" h="803">
                <a:moveTo>
                  <a:pt x="561" y="285"/>
                </a:moveTo>
                <a:cubicBezTo>
                  <a:pt x="561" y="286"/>
                  <a:pt x="561" y="286"/>
                  <a:pt x="561" y="287"/>
                </a:cubicBezTo>
                <a:cubicBezTo>
                  <a:pt x="558" y="287"/>
                  <a:pt x="559" y="284"/>
                  <a:pt x="555" y="287"/>
                </a:cubicBezTo>
                <a:cubicBezTo>
                  <a:pt x="555" y="283"/>
                  <a:pt x="553" y="284"/>
                  <a:pt x="553" y="286"/>
                </a:cubicBezTo>
                <a:cubicBezTo>
                  <a:pt x="551" y="282"/>
                  <a:pt x="558" y="279"/>
                  <a:pt x="555" y="276"/>
                </a:cubicBezTo>
                <a:cubicBezTo>
                  <a:pt x="554" y="274"/>
                  <a:pt x="551" y="272"/>
                  <a:pt x="552" y="269"/>
                </a:cubicBezTo>
                <a:cubicBezTo>
                  <a:pt x="549" y="268"/>
                  <a:pt x="552" y="272"/>
                  <a:pt x="550" y="272"/>
                </a:cubicBezTo>
                <a:cubicBezTo>
                  <a:pt x="549" y="268"/>
                  <a:pt x="546" y="267"/>
                  <a:pt x="546" y="263"/>
                </a:cubicBezTo>
                <a:cubicBezTo>
                  <a:pt x="545" y="264"/>
                  <a:pt x="544" y="268"/>
                  <a:pt x="543" y="267"/>
                </a:cubicBezTo>
                <a:cubicBezTo>
                  <a:pt x="542" y="264"/>
                  <a:pt x="548" y="263"/>
                  <a:pt x="544" y="262"/>
                </a:cubicBezTo>
                <a:cubicBezTo>
                  <a:pt x="544" y="262"/>
                  <a:pt x="543" y="265"/>
                  <a:pt x="543" y="263"/>
                </a:cubicBezTo>
                <a:cubicBezTo>
                  <a:pt x="542" y="261"/>
                  <a:pt x="545" y="259"/>
                  <a:pt x="543" y="258"/>
                </a:cubicBezTo>
                <a:cubicBezTo>
                  <a:pt x="543" y="262"/>
                  <a:pt x="541" y="264"/>
                  <a:pt x="541" y="266"/>
                </a:cubicBezTo>
                <a:cubicBezTo>
                  <a:pt x="539" y="265"/>
                  <a:pt x="543" y="261"/>
                  <a:pt x="539" y="261"/>
                </a:cubicBezTo>
                <a:cubicBezTo>
                  <a:pt x="540" y="263"/>
                  <a:pt x="538" y="265"/>
                  <a:pt x="538" y="263"/>
                </a:cubicBezTo>
                <a:cubicBezTo>
                  <a:pt x="540" y="259"/>
                  <a:pt x="538" y="262"/>
                  <a:pt x="537" y="259"/>
                </a:cubicBezTo>
                <a:cubicBezTo>
                  <a:pt x="539" y="248"/>
                  <a:pt x="534" y="241"/>
                  <a:pt x="533" y="236"/>
                </a:cubicBezTo>
                <a:cubicBezTo>
                  <a:pt x="532" y="229"/>
                  <a:pt x="534" y="221"/>
                  <a:pt x="533" y="212"/>
                </a:cubicBezTo>
                <a:cubicBezTo>
                  <a:pt x="529" y="212"/>
                  <a:pt x="525" y="212"/>
                  <a:pt x="520" y="212"/>
                </a:cubicBezTo>
                <a:cubicBezTo>
                  <a:pt x="520" y="209"/>
                  <a:pt x="520" y="207"/>
                  <a:pt x="520" y="204"/>
                </a:cubicBezTo>
                <a:cubicBezTo>
                  <a:pt x="500" y="204"/>
                  <a:pt x="480" y="204"/>
                  <a:pt x="460" y="204"/>
                </a:cubicBezTo>
                <a:cubicBezTo>
                  <a:pt x="460" y="207"/>
                  <a:pt x="461" y="211"/>
                  <a:pt x="459" y="212"/>
                </a:cubicBezTo>
                <a:cubicBezTo>
                  <a:pt x="454" y="212"/>
                  <a:pt x="449" y="212"/>
                  <a:pt x="444" y="212"/>
                </a:cubicBezTo>
                <a:cubicBezTo>
                  <a:pt x="442" y="238"/>
                  <a:pt x="445" y="269"/>
                  <a:pt x="443" y="296"/>
                </a:cubicBezTo>
                <a:cubicBezTo>
                  <a:pt x="442" y="296"/>
                  <a:pt x="440" y="296"/>
                  <a:pt x="438" y="296"/>
                </a:cubicBezTo>
                <a:cubicBezTo>
                  <a:pt x="438" y="272"/>
                  <a:pt x="438" y="249"/>
                  <a:pt x="438" y="226"/>
                </a:cubicBezTo>
                <a:cubicBezTo>
                  <a:pt x="437" y="223"/>
                  <a:pt x="429" y="227"/>
                  <a:pt x="429" y="223"/>
                </a:cubicBezTo>
                <a:cubicBezTo>
                  <a:pt x="429" y="220"/>
                  <a:pt x="435" y="223"/>
                  <a:pt x="437" y="221"/>
                </a:cubicBezTo>
                <a:cubicBezTo>
                  <a:pt x="437" y="219"/>
                  <a:pt x="437" y="217"/>
                  <a:pt x="437" y="215"/>
                </a:cubicBezTo>
                <a:cubicBezTo>
                  <a:pt x="429" y="213"/>
                  <a:pt x="424" y="217"/>
                  <a:pt x="418" y="219"/>
                </a:cubicBezTo>
                <a:cubicBezTo>
                  <a:pt x="417" y="220"/>
                  <a:pt x="419" y="224"/>
                  <a:pt x="417" y="225"/>
                </a:cubicBezTo>
                <a:cubicBezTo>
                  <a:pt x="399" y="225"/>
                  <a:pt x="379" y="226"/>
                  <a:pt x="361" y="224"/>
                </a:cubicBezTo>
                <a:cubicBezTo>
                  <a:pt x="361" y="218"/>
                  <a:pt x="361" y="212"/>
                  <a:pt x="361" y="206"/>
                </a:cubicBezTo>
                <a:cubicBezTo>
                  <a:pt x="357" y="209"/>
                  <a:pt x="360" y="219"/>
                  <a:pt x="359" y="225"/>
                </a:cubicBezTo>
                <a:cubicBezTo>
                  <a:pt x="358" y="225"/>
                  <a:pt x="354" y="224"/>
                  <a:pt x="355" y="226"/>
                </a:cubicBezTo>
                <a:cubicBezTo>
                  <a:pt x="355" y="254"/>
                  <a:pt x="355" y="282"/>
                  <a:pt x="355" y="309"/>
                </a:cubicBezTo>
                <a:cubicBezTo>
                  <a:pt x="350" y="309"/>
                  <a:pt x="344" y="310"/>
                  <a:pt x="341" y="309"/>
                </a:cubicBezTo>
                <a:cubicBezTo>
                  <a:pt x="342" y="307"/>
                  <a:pt x="341" y="302"/>
                  <a:pt x="342" y="299"/>
                </a:cubicBezTo>
                <a:cubicBezTo>
                  <a:pt x="337" y="299"/>
                  <a:pt x="332" y="299"/>
                  <a:pt x="327" y="299"/>
                </a:cubicBezTo>
                <a:cubicBezTo>
                  <a:pt x="327" y="302"/>
                  <a:pt x="329" y="308"/>
                  <a:pt x="326" y="309"/>
                </a:cubicBezTo>
                <a:cubicBezTo>
                  <a:pt x="325" y="307"/>
                  <a:pt x="326" y="302"/>
                  <a:pt x="325" y="299"/>
                </a:cubicBezTo>
                <a:cubicBezTo>
                  <a:pt x="321" y="299"/>
                  <a:pt x="316" y="299"/>
                  <a:pt x="311" y="299"/>
                </a:cubicBezTo>
                <a:cubicBezTo>
                  <a:pt x="311" y="302"/>
                  <a:pt x="311" y="306"/>
                  <a:pt x="311" y="309"/>
                </a:cubicBezTo>
                <a:cubicBezTo>
                  <a:pt x="308" y="309"/>
                  <a:pt x="305" y="309"/>
                  <a:pt x="302" y="309"/>
                </a:cubicBezTo>
                <a:cubicBezTo>
                  <a:pt x="302" y="312"/>
                  <a:pt x="303" y="317"/>
                  <a:pt x="301" y="319"/>
                </a:cubicBezTo>
                <a:cubicBezTo>
                  <a:pt x="282" y="318"/>
                  <a:pt x="270" y="328"/>
                  <a:pt x="258" y="334"/>
                </a:cubicBezTo>
                <a:cubicBezTo>
                  <a:pt x="255" y="336"/>
                  <a:pt x="249" y="336"/>
                  <a:pt x="248" y="340"/>
                </a:cubicBezTo>
                <a:cubicBezTo>
                  <a:pt x="249" y="342"/>
                  <a:pt x="254" y="339"/>
                  <a:pt x="255" y="341"/>
                </a:cubicBezTo>
                <a:cubicBezTo>
                  <a:pt x="255" y="355"/>
                  <a:pt x="255" y="368"/>
                  <a:pt x="255" y="382"/>
                </a:cubicBezTo>
                <a:cubicBezTo>
                  <a:pt x="253" y="388"/>
                  <a:pt x="247" y="383"/>
                  <a:pt x="246" y="387"/>
                </a:cubicBezTo>
                <a:cubicBezTo>
                  <a:pt x="246" y="384"/>
                  <a:pt x="247" y="383"/>
                  <a:pt x="245" y="383"/>
                </a:cubicBezTo>
                <a:cubicBezTo>
                  <a:pt x="244" y="380"/>
                  <a:pt x="245" y="385"/>
                  <a:pt x="243" y="384"/>
                </a:cubicBezTo>
                <a:cubicBezTo>
                  <a:pt x="242" y="378"/>
                  <a:pt x="242" y="380"/>
                  <a:pt x="241" y="376"/>
                </a:cubicBezTo>
                <a:cubicBezTo>
                  <a:pt x="241" y="379"/>
                  <a:pt x="240" y="379"/>
                  <a:pt x="238" y="378"/>
                </a:cubicBezTo>
                <a:cubicBezTo>
                  <a:pt x="238" y="380"/>
                  <a:pt x="239" y="381"/>
                  <a:pt x="239" y="384"/>
                </a:cubicBezTo>
                <a:cubicBezTo>
                  <a:pt x="238" y="383"/>
                  <a:pt x="238" y="381"/>
                  <a:pt x="236" y="381"/>
                </a:cubicBezTo>
                <a:cubicBezTo>
                  <a:pt x="237" y="386"/>
                  <a:pt x="235" y="382"/>
                  <a:pt x="235" y="383"/>
                </a:cubicBezTo>
                <a:cubicBezTo>
                  <a:pt x="232" y="382"/>
                  <a:pt x="238" y="388"/>
                  <a:pt x="235" y="388"/>
                </a:cubicBezTo>
                <a:cubicBezTo>
                  <a:pt x="232" y="388"/>
                  <a:pt x="228" y="382"/>
                  <a:pt x="227" y="386"/>
                </a:cubicBezTo>
                <a:cubicBezTo>
                  <a:pt x="226" y="385"/>
                  <a:pt x="224" y="384"/>
                  <a:pt x="223" y="382"/>
                </a:cubicBezTo>
                <a:cubicBezTo>
                  <a:pt x="223" y="384"/>
                  <a:pt x="226" y="384"/>
                  <a:pt x="226" y="386"/>
                </a:cubicBezTo>
                <a:cubicBezTo>
                  <a:pt x="219" y="387"/>
                  <a:pt x="210" y="387"/>
                  <a:pt x="203" y="388"/>
                </a:cubicBezTo>
                <a:cubicBezTo>
                  <a:pt x="202" y="394"/>
                  <a:pt x="202" y="402"/>
                  <a:pt x="200" y="407"/>
                </a:cubicBezTo>
                <a:cubicBezTo>
                  <a:pt x="197" y="407"/>
                  <a:pt x="193" y="408"/>
                  <a:pt x="191" y="407"/>
                </a:cubicBezTo>
                <a:cubicBezTo>
                  <a:pt x="191" y="399"/>
                  <a:pt x="191" y="392"/>
                  <a:pt x="191" y="384"/>
                </a:cubicBezTo>
                <a:cubicBezTo>
                  <a:pt x="194" y="384"/>
                  <a:pt x="199" y="387"/>
                  <a:pt x="199" y="384"/>
                </a:cubicBezTo>
                <a:cubicBezTo>
                  <a:pt x="199" y="378"/>
                  <a:pt x="191" y="382"/>
                  <a:pt x="190" y="378"/>
                </a:cubicBezTo>
                <a:cubicBezTo>
                  <a:pt x="189" y="382"/>
                  <a:pt x="190" y="387"/>
                  <a:pt x="190" y="393"/>
                </a:cubicBezTo>
                <a:cubicBezTo>
                  <a:pt x="190" y="398"/>
                  <a:pt x="192" y="407"/>
                  <a:pt x="187" y="407"/>
                </a:cubicBezTo>
                <a:cubicBezTo>
                  <a:pt x="184" y="407"/>
                  <a:pt x="186" y="403"/>
                  <a:pt x="186" y="400"/>
                </a:cubicBezTo>
                <a:cubicBezTo>
                  <a:pt x="183" y="400"/>
                  <a:pt x="180" y="400"/>
                  <a:pt x="177" y="400"/>
                </a:cubicBezTo>
                <a:cubicBezTo>
                  <a:pt x="177" y="403"/>
                  <a:pt x="177" y="405"/>
                  <a:pt x="177" y="407"/>
                </a:cubicBezTo>
                <a:cubicBezTo>
                  <a:pt x="172" y="406"/>
                  <a:pt x="171" y="411"/>
                  <a:pt x="170" y="410"/>
                </a:cubicBezTo>
                <a:cubicBezTo>
                  <a:pt x="168" y="406"/>
                  <a:pt x="172" y="397"/>
                  <a:pt x="168" y="396"/>
                </a:cubicBezTo>
                <a:cubicBezTo>
                  <a:pt x="164" y="395"/>
                  <a:pt x="167" y="400"/>
                  <a:pt x="165" y="401"/>
                </a:cubicBezTo>
                <a:cubicBezTo>
                  <a:pt x="161" y="401"/>
                  <a:pt x="157" y="401"/>
                  <a:pt x="153" y="401"/>
                </a:cubicBezTo>
                <a:cubicBezTo>
                  <a:pt x="153" y="405"/>
                  <a:pt x="154" y="410"/>
                  <a:pt x="153" y="411"/>
                </a:cubicBezTo>
                <a:cubicBezTo>
                  <a:pt x="136" y="411"/>
                  <a:pt x="117" y="412"/>
                  <a:pt x="101" y="411"/>
                </a:cubicBezTo>
                <a:cubicBezTo>
                  <a:pt x="101" y="406"/>
                  <a:pt x="101" y="402"/>
                  <a:pt x="101" y="397"/>
                </a:cubicBezTo>
                <a:cubicBezTo>
                  <a:pt x="118" y="393"/>
                  <a:pt x="136" y="387"/>
                  <a:pt x="151" y="383"/>
                </a:cubicBezTo>
                <a:cubicBezTo>
                  <a:pt x="157" y="381"/>
                  <a:pt x="164" y="381"/>
                  <a:pt x="167" y="377"/>
                </a:cubicBezTo>
                <a:cubicBezTo>
                  <a:pt x="162" y="376"/>
                  <a:pt x="156" y="379"/>
                  <a:pt x="151" y="380"/>
                </a:cubicBezTo>
                <a:cubicBezTo>
                  <a:pt x="133" y="385"/>
                  <a:pt x="115" y="391"/>
                  <a:pt x="97" y="394"/>
                </a:cubicBezTo>
                <a:cubicBezTo>
                  <a:pt x="95" y="397"/>
                  <a:pt x="100" y="406"/>
                  <a:pt x="95" y="407"/>
                </a:cubicBezTo>
                <a:cubicBezTo>
                  <a:pt x="93" y="400"/>
                  <a:pt x="95" y="389"/>
                  <a:pt x="94" y="380"/>
                </a:cubicBezTo>
                <a:cubicBezTo>
                  <a:pt x="93" y="378"/>
                  <a:pt x="95" y="378"/>
                  <a:pt x="96" y="377"/>
                </a:cubicBezTo>
                <a:cubicBezTo>
                  <a:pt x="90" y="369"/>
                  <a:pt x="69" y="369"/>
                  <a:pt x="64" y="378"/>
                </a:cubicBezTo>
                <a:cubicBezTo>
                  <a:pt x="68" y="380"/>
                  <a:pt x="64" y="391"/>
                  <a:pt x="66" y="396"/>
                </a:cubicBezTo>
                <a:cubicBezTo>
                  <a:pt x="63" y="393"/>
                  <a:pt x="60" y="399"/>
                  <a:pt x="58" y="395"/>
                </a:cubicBezTo>
                <a:cubicBezTo>
                  <a:pt x="57" y="397"/>
                  <a:pt x="59" y="401"/>
                  <a:pt x="57" y="400"/>
                </a:cubicBezTo>
                <a:cubicBezTo>
                  <a:pt x="57" y="397"/>
                  <a:pt x="55" y="396"/>
                  <a:pt x="53" y="393"/>
                </a:cubicBezTo>
                <a:cubicBezTo>
                  <a:pt x="54" y="395"/>
                  <a:pt x="53" y="397"/>
                  <a:pt x="51" y="398"/>
                </a:cubicBezTo>
                <a:cubicBezTo>
                  <a:pt x="50" y="395"/>
                  <a:pt x="54" y="392"/>
                  <a:pt x="51" y="392"/>
                </a:cubicBezTo>
                <a:cubicBezTo>
                  <a:pt x="50" y="392"/>
                  <a:pt x="50" y="396"/>
                  <a:pt x="47" y="394"/>
                </a:cubicBezTo>
                <a:cubicBezTo>
                  <a:pt x="47" y="392"/>
                  <a:pt x="50" y="389"/>
                  <a:pt x="47" y="389"/>
                </a:cubicBezTo>
                <a:cubicBezTo>
                  <a:pt x="47" y="387"/>
                  <a:pt x="47" y="392"/>
                  <a:pt x="45" y="392"/>
                </a:cubicBezTo>
                <a:cubicBezTo>
                  <a:pt x="45" y="390"/>
                  <a:pt x="46" y="390"/>
                  <a:pt x="46" y="389"/>
                </a:cubicBezTo>
                <a:cubicBezTo>
                  <a:pt x="44" y="386"/>
                  <a:pt x="44" y="392"/>
                  <a:pt x="43" y="390"/>
                </a:cubicBezTo>
                <a:cubicBezTo>
                  <a:pt x="43" y="389"/>
                  <a:pt x="44" y="386"/>
                  <a:pt x="42" y="387"/>
                </a:cubicBezTo>
                <a:cubicBezTo>
                  <a:pt x="41" y="388"/>
                  <a:pt x="42" y="391"/>
                  <a:pt x="41" y="391"/>
                </a:cubicBezTo>
                <a:cubicBezTo>
                  <a:pt x="40" y="388"/>
                  <a:pt x="41" y="394"/>
                  <a:pt x="38" y="391"/>
                </a:cubicBezTo>
                <a:cubicBezTo>
                  <a:pt x="37" y="396"/>
                  <a:pt x="36" y="399"/>
                  <a:pt x="38" y="402"/>
                </a:cubicBezTo>
                <a:cubicBezTo>
                  <a:pt x="35" y="399"/>
                  <a:pt x="38" y="405"/>
                  <a:pt x="37" y="406"/>
                </a:cubicBezTo>
                <a:cubicBezTo>
                  <a:pt x="35" y="403"/>
                  <a:pt x="35" y="402"/>
                  <a:pt x="32" y="400"/>
                </a:cubicBezTo>
                <a:cubicBezTo>
                  <a:pt x="32" y="402"/>
                  <a:pt x="34" y="402"/>
                  <a:pt x="32" y="403"/>
                </a:cubicBezTo>
                <a:cubicBezTo>
                  <a:pt x="32" y="398"/>
                  <a:pt x="30" y="404"/>
                  <a:pt x="30" y="399"/>
                </a:cubicBezTo>
                <a:cubicBezTo>
                  <a:pt x="28" y="401"/>
                  <a:pt x="30" y="404"/>
                  <a:pt x="27" y="407"/>
                </a:cubicBezTo>
                <a:cubicBezTo>
                  <a:pt x="26" y="404"/>
                  <a:pt x="26" y="401"/>
                  <a:pt x="25" y="400"/>
                </a:cubicBezTo>
                <a:cubicBezTo>
                  <a:pt x="25" y="403"/>
                  <a:pt x="24" y="407"/>
                  <a:pt x="23" y="403"/>
                </a:cubicBezTo>
                <a:cubicBezTo>
                  <a:pt x="20" y="403"/>
                  <a:pt x="27" y="406"/>
                  <a:pt x="24" y="407"/>
                </a:cubicBezTo>
                <a:cubicBezTo>
                  <a:pt x="22" y="407"/>
                  <a:pt x="23" y="405"/>
                  <a:pt x="21" y="405"/>
                </a:cubicBezTo>
                <a:cubicBezTo>
                  <a:pt x="20" y="410"/>
                  <a:pt x="25" y="410"/>
                  <a:pt x="25" y="413"/>
                </a:cubicBezTo>
                <a:cubicBezTo>
                  <a:pt x="24" y="412"/>
                  <a:pt x="24" y="411"/>
                  <a:pt x="22" y="411"/>
                </a:cubicBezTo>
                <a:cubicBezTo>
                  <a:pt x="22" y="411"/>
                  <a:pt x="23" y="413"/>
                  <a:pt x="22" y="413"/>
                </a:cubicBezTo>
                <a:cubicBezTo>
                  <a:pt x="19" y="411"/>
                  <a:pt x="23" y="418"/>
                  <a:pt x="19" y="415"/>
                </a:cubicBezTo>
                <a:cubicBezTo>
                  <a:pt x="19" y="418"/>
                  <a:pt x="21" y="417"/>
                  <a:pt x="21" y="419"/>
                </a:cubicBezTo>
                <a:cubicBezTo>
                  <a:pt x="20" y="419"/>
                  <a:pt x="19" y="418"/>
                  <a:pt x="19" y="417"/>
                </a:cubicBezTo>
                <a:cubicBezTo>
                  <a:pt x="17" y="417"/>
                  <a:pt x="20" y="421"/>
                  <a:pt x="19" y="421"/>
                </a:cubicBezTo>
                <a:cubicBezTo>
                  <a:pt x="13" y="421"/>
                  <a:pt x="7" y="421"/>
                  <a:pt x="0" y="421"/>
                </a:cubicBezTo>
                <a:cubicBezTo>
                  <a:pt x="0" y="800"/>
                  <a:pt x="0" y="303"/>
                  <a:pt x="0" y="683"/>
                </a:cubicBezTo>
                <a:cubicBezTo>
                  <a:pt x="541" y="683"/>
                  <a:pt x="1083" y="683"/>
                  <a:pt x="1624" y="683"/>
                </a:cubicBezTo>
                <a:cubicBezTo>
                  <a:pt x="1624" y="305"/>
                  <a:pt x="1624" y="803"/>
                  <a:pt x="1624" y="426"/>
                </a:cubicBezTo>
                <a:cubicBezTo>
                  <a:pt x="1599" y="427"/>
                  <a:pt x="1570" y="427"/>
                  <a:pt x="1545" y="426"/>
                </a:cubicBezTo>
                <a:cubicBezTo>
                  <a:pt x="1545" y="425"/>
                  <a:pt x="1547" y="423"/>
                  <a:pt x="1545" y="422"/>
                </a:cubicBezTo>
                <a:cubicBezTo>
                  <a:pt x="1545" y="425"/>
                  <a:pt x="1544" y="427"/>
                  <a:pt x="1541" y="426"/>
                </a:cubicBezTo>
                <a:cubicBezTo>
                  <a:pt x="1542" y="425"/>
                  <a:pt x="1546" y="423"/>
                  <a:pt x="1544" y="422"/>
                </a:cubicBezTo>
                <a:cubicBezTo>
                  <a:pt x="1543" y="426"/>
                  <a:pt x="1540" y="423"/>
                  <a:pt x="1539" y="424"/>
                </a:cubicBezTo>
                <a:cubicBezTo>
                  <a:pt x="1540" y="421"/>
                  <a:pt x="1545" y="419"/>
                  <a:pt x="1544" y="417"/>
                </a:cubicBezTo>
                <a:cubicBezTo>
                  <a:pt x="1543" y="418"/>
                  <a:pt x="1541" y="422"/>
                  <a:pt x="1540" y="420"/>
                </a:cubicBezTo>
                <a:cubicBezTo>
                  <a:pt x="1540" y="417"/>
                  <a:pt x="1547" y="416"/>
                  <a:pt x="1545" y="413"/>
                </a:cubicBezTo>
                <a:cubicBezTo>
                  <a:pt x="1544" y="416"/>
                  <a:pt x="1542" y="418"/>
                  <a:pt x="1542" y="415"/>
                </a:cubicBezTo>
                <a:cubicBezTo>
                  <a:pt x="1542" y="416"/>
                  <a:pt x="1539" y="415"/>
                  <a:pt x="1538" y="419"/>
                </a:cubicBezTo>
                <a:cubicBezTo>
                  <a:pt x="1539" y="414"/>
                  <a:pt x="1536" y="421"/>
                  <a:pt x="1533" y="419"/>
                </a:cubicBezTo>
                <a:cubicBezTo>
                  <a:pt x="1534" y="417"/>
                  <a:pt x="1537" y="413"/>
                  <a:pt x="1535" y="410"/>
                </a:cubicBezTo>
                <a:cubicBezTo>
                  <a:pt x="1536" y="413"/>
                  <a:pt x="1533" y="416"/>
                  <a:pt x="1532" y="415"/>
                </a:cubicBezTo>
                <a:cubicBezTo>
                  <a:pt x="1532" y="414"/>
                  <a:pt x="1533" y="411"/>
                  <a:pt x="1532" y="411"/>
                </a:cubicBezTo>
                <a:cubicBezTo>
                  <a:pt x="1532" y="413"/>
                  <a:pt x="1531" y="414"/>
                  <a:pt x="1530" y="415"/>
                </a:cubicBezTo>
                <a:cubicBezTo>
                  <a:pt x="1531" y="411"/>
                  <a:pt x="1532" y="410"/>
                  <a:pt x="1530" y="408"/>
                </a:cubicBezTo>
                <a:cubicBezTo>
                  <a:pt x="1530" y="409"/>
                  <a:pt x="1528" y="410"/>
                  <a:pt x="1528" y="411"/>
                </a:cubicBezTo>
                <a:cubicBezTo>
                  <a:pt x="1527" y="410"/>
                  <a:pt x="1529" y="407"/>
                  <a:pt x="1527" y="407"/>
                </a:cubicBezTo>
                <a:cubicBezTo>
                  <a:pt x="1527" y="411"/>
                  <a:pt x="1526" y="417"/>
                  <a:pt x="1523" y="414"/>
                </a:cubicBezTo>
                <a:cubicBezTo>
                  <a:pt x="1524" y="417"/>
                  <a:pt x="1524" y="418"/>
                  <a:pt x="1521" y="419"/>
                </a:cubicBezTo>
                <a:cubicBezTo>
                  <a:pt x="1522" y="417"/>
                  <a:pt x="1523" y="415"/>
                  <a:pt x="1521" y="413"/>
                </a:cubicBezTo>
                <a:cubicBezTo>
                  <a:pt x="1521" y="415"/>
                  <a:pt x="1522" y="418"/>
                  <a:pt x="1520" y="418"/>
                </a:cubicBezTo>
                <a:cubicBezTo>
                  <a:pt x="1521" y="413"/>
                  <a:pt x="1518" y="417"/>
                  <a:pt x="1519" y="419"/>
                </a:cubicBezTo>
                <a:cubicBezTo>
                  <a:pt x="1517" y="419"/>
                  <a:pt x="1519" y="409"/>
                  <a:pt x="1517" y="409"/>
                </a:cubicBezTo>
                <a:cubicBezTo>
                  <a:pt x="1518" y="413"/>
                  <a:pt x="1516" y="415"/>
                  <a:pt x="1516" y="417"/>
                </a:cubicBezTo>
                <a:cubicBezTo>
                  <a:pt x="1514" y="413"/>
                  <a:pt x="1513" y="417"/>
                  <a:pt x="1511" y="417"/>
                </a:cubicBezTo>
                <a:cubicBezTo>
                  <a:pt x="1510" y="415"/>
                  <a:pt x="1512" y="411"/>
                  <a:pt x="1510" y="411"/>
                </a:cubicBezTo>
                <a:cubicBezTo>
                  <a:pt x="1505" y="409"/>
                  <a:pt x="1508" y="410"/>
                  <a:pt x="1503" y="411"/>
                </a:cubicBezTo>
                <a:cubicBezTo>
                  <a:pt x="1502" y="409"/>
                  <a:pt x="1503" y="406"/>
                  <a:pt x="1503" y="403"/>
                </a:cubicBezTo>
                <a:cubicBezTo>
                  <a:pt x="1500" y="403"/>
                  <a:pt x="1496" y="404"/>
                  <a:pt x="1495" y="402"/>
                </a:cubicBezTo>
                <a:cubicBezTo>
                  <a:pt x="1495" y="400"/>
                  <a:pt x="1495" y="398"/>
                  <a:pt x="1495" y="395"/>
                </a:cubicBezTo>
                <a:cubicBezTo>
                  <a:pt x="1489" y="396"/>
                  <a:pt x="1485" y="395"/>
                  <a:pt x="1484" y="392"/>
                </a:cubicBezTo>
                <a:cubicBezTo>
                  <a:pt x="1461" y="392"/>
                  <a:pt x="1439" y="389"/>
                  <a:pt x="1417" y="392"/>
                </a:cubicBezTo>
                <a:cubicBezTo>
                  <a:pt x="1417" y="394"/>
                  <a:pt x="1418" y="397"/>
                  <a:pt x="1417" y="398"/>
                </a:cubicBezTo>
                <a:cubicBezTo>
                  <a:pt x="1412" y="398"/>
                  <a:pt x="1406" y="399"/>
                  <a:pt x="1403" y="398"/>
                </a:cubicBezTo>
                <a:cubicBezTo>
                  <a:pt x="1403" y="375"/>
                  <a:pt x="1403" y="352"/>
                  <a:pt x="1403" y="330"/>
                </a:cubicBezTo>
                <a:cubicBezTo>
                  <a:pt x="1403" y="328"/>
                  <a:pt x="1399" y="330"/>
                  <a:pt x="1399" y="328"/>
                </a:cubicBezTo>
                <a:cubicBezTo>
                  <a:pt x="1398" y="294"/>
                  <a:pt x="1399" y="259"/>
                  <a:pt x="1397" y="226"/>
                </a:cubicBezTo>
                <a:cubicBezTo>
                  <a:pt x="1356" y="226"/>
                  <a:pt x="1314" y="226"/>
                  <a:pt x="1273" y="226"/>
                </a:cubicBezTo>
                <a:cubicBezTo>
                  <a:pt x="1273" y="223"/>
                  <a:pt x="1273" y="219"/>
                  <a:pt x="1273" y="216"/>
                </a:cubicBezTo>
                <a:cubicBezTo>
                  <a:pt x="1267" y="216"/>
                  <a:pt x="1261" y="216"/>
                  <a:pt x="1256" y="216"/>
                </a:cubicBezTo>
                <a:cubicBezTo>
                  <a:pt x="1255" y="219"/>
                  <a:pt x="1257" y="224"/>
                  <a:pt x="1255" y="226"/>
                </a:cubicBezTo>
                <a:cubicBezTo>
                  <a:pt x="1249" y="226"/>
                  <a:pt x="1242" y="226"/>
                  <a:pt x="1236" y="226"/>
                </a:cubicBezTo>
                <a:cubicBezTo>
                  <a:pt x="1236" y="254"/>
                  <a:pt x="1236" y="282"/>
                  <a:pt x="1236" y="309"/>
                </a:cubicBezTo>
                <a:cubicBezTo>
                  <a:pt x="1226" y="315"/>
                  <a:pt x="1214" y="319"/>
                  <a:pt x="1199" y="318"/>
                </a:cubicBezTo>
                <a:cubicBezTo>
                  <a:pt x="1199" y="276"/>
                  <a:pt x="1199" y="234"/>
                  <a:pt x="1199" y="192"/>
                </a:cubicBezTo>
                <a:cubicBezTo>
                  <a:pt x="1195" y="192"/>
                  <a:pt x="1196" y="190"/>
                  <a:pt x="1192" y="189"/>
                </a:cubicBezTo>
                <a:cubicBezTo>
                  <a:pt x="1185" y="174"/>
                  <a:pt x="1172" y="165"/>
                  <a:pt x="1154" y="161"/>
                </a:cubicBezTo>
                <a:cubicBezTo>
                  <a:pt x="1152" y="151"/>
                  <a:pt x="1151" y="139"/>
                  <a:pt x="1149" y="129"/>
                </a:cubicBezTo>
                <a:cubicBezTo>
                  <a:pt x="1148" y="140"/>
                  <a:pt x="1147" y="151"/>
                  <a:pt x="1146" y="162"/>
                </a:cubicBezTo>
                <a:cubicBezTo>
                  <a:pt x="1124" y="163"/>
                  <a:pt x="1113" y="175"/>
                  <a:pt x="1104" y="190"/>
                </a:cubicBezTo>
                <a:cubicBezTo>
                  <a:pt x="1102" y="190"/>
                  <a:pt x="1101" y="192"/>
                  <a:pt x="1097" y="191"/>
                </a:cubicBezTo>
                <a:cubicBezTo>
                  <a:pt x="1097" y="260"/>
                  <a:pt x="1098" y="331"/>
                  <a:pt x="1097" y="400"/>
                </a:cubicBezTo>
                <a:cubicBezTo>
                  <a:pt x="1095" y="400"/>
                  <a:pt x="1093" y="400"/>
                  <a:pt x="1091" y="400"/>
                </a:cubicBezTo>
                <a:cubicBezTo>
                  <a:pt x="1091" y="342"/>
                  <a:pt x="1091" y="284"/>
                  <a:pt x="1091" y="227"/>
                </a:cubicBezTo>
                <a:cubicBezTo>
                  <a:pt x="1075" y="227"/>
                  <a:pt x="1060" y="227"/>
                  <a:pt x="1044" y="227"/>
                </a:cubicBezTo>
                <a:cubicBezTo>
                  <a:pt x="1040" y="221"/>
                  <a:pt x="1031" y="220"/>
                  <a:pt x="1032" y="208"/>
                </a:cubicBezTo>
                <a:cubicBezTo>
                  <a:pt x="1023" y="208"/>
                  <a:pt x="1013" y="208"/>
                  <a:pt x="1004" y="208"/>
                </a:cubicBezTo>
                <a:cubicBezTo>
                  <a:pt x="1002" y="213"/>
                  <a:pt x="1007" y="226"/>
                  <a:pt x="1001" y="227"/>
                </a:cubicBezTo>
                <a:cubicBezTo>
                  <a:pt x="998" y="227"/>
                  <a:pt x="1000" y="221"/>
                  <a:pt x="1000" y="219"/>
                </a:cubicBezTo>
                <a:cubicBezTo>
                  <a:pt x="991" y="219"/>
                  <a:pt x="982" y="219"/>
                  <a:pt x="973" y="219"/>
                </a:cubicBezTo>
                <a:cubicBezTo>
                  <a:pt x="973" y="222"/>
                  <a:pt x="974" y="226"/>
                  <a:pt x="972" y="227"/>
                </a:cubicBezTo>
                <a:cubicBezTo>
                  <a:pt x="968" y="227"/>
                  <a:pt x="964" y="227"/>
                  <a:pt x="960" y="227"/>
                </a:cubicBezTo>
                <a:cubicBezTo>
                  <a:pt x="959" y="244"/>
                  <a:pt x="960" y="263"/>
                  <a:pt x="959" y="281"/>
                </a:cubicBezTo>
                <a:cubicBezTo>
                  <a:pt x="956" y="280"/>
                  <a:pt x="950" y="282"/>
                  <a:pt x="948" y="280"/>
                </a:cubicBezTo>
                <a:cubicBezTo>
                  <a:pt x="948" y="211"/>
                  <a:pt x="948" y="142"/>
                  <a:pt x="948" y="74"/>
                </a:cubicBezTo>
                <a:cubicBezTo>
                  <a:pt x="915" y="74"/>
                  <a:pt x="882" y="74"/>
                  <a:pt x="850" y="74"/>
                </a:cubicBezTo>
                <a:cubicBezTo>
                  <a:pt x="850" y="71"/>
                  <a:pt x="850" y="68"/>
                  <a:pt x="849" y="67"/>
                </a:cubicBezTo>
                <a:cubicBezTo>
                  <a:pt x="841" y="67"/>
                  <a:pt x="834" y="67"/>
                  <a:pt x="826" y="67"/>
                </a:cubicBezTo>
                <a:cubicBezTo>
                  <a:pt x="825" y="68"/>
                  <a:pt x="827" y="73"/>
                  <a:pt x="825" y="74"/>
                </a:cubicBezTo>
                <a:cubicBezTo>
                  <a:pt x="822" y="74"/>
                  <a:pt x="819" y="74"/>
                  <a:pt x="816" y="74"/>
                </a:cubicBezTo>
                <a:cubicBezTo>
                  <a:pt x="816" y="157"/>
                  <a:pt x="816" y="244"/>
                  <a:pt x="816" y="326"/>
                </a:cubicBezTo>
                <a:cubicBezTo>
                  <a:pt x="816" y="332"/>
                  <a:pt x="818" y="339"/>
                  <a:pt x="814" y="341"/>
                </a:cubicBezTo>
                <a:cubicBezTo>
                  <a:pt x="811" y="264"/>
                  <a:pt x="814" y="181"/>
                  <a:pt x="813" y="102"/>
                </a:cubicBezTo>
                <a:cubicBezTo>
                  <a:pt x="801" y="103"/>
                  <a:pt x="791" y="102"/>
                  <a:pt x="781" y="100"/>
                </a:cubicBezTo>
                <a:cubicBezTo>
                  <a:pt x="777" y="96"/>
                  <a:pt x="772" y="93"/>
                  <a:pt x="768" y="88"/>
                </a:cubicBezTo>
                <a:cubicBezTo>
                  <a:pt x="765" y="85"/>
                  <a:pt x="757" y="79"/>
                  <a:pt x="755" y="75"/>
                </a:cubicBezTo>
                <a:cubicBezTo>
                  <a:pt x="754" y="71"/>
                  <a:pt x="756" y="67"/>
                  <a:pt x="756" y="63"/>
                </a:cubicBezTo>
                <a:cubicBezTo>
                  <a:pt x="756" y="41"/>
                  <a:pt x="752" y="21"/>
                  <a:pt x="754" y="0"/>
                </a:cubicBezTo>
                <a:cubicBezTo>
                  <a:pt x="751" y="23"/>
                  <a:pt x="752" y="47"/>
                  <a:pt x="752" y="72"/>
                </a:cubicBezTo>
                <a:cubicBezTo>
                  <a:pt x="749" y="73"/>
                  <a:pt x="748" y="74"/>
                  <a:pt x="749" y="77"/>
                </a:cubicBezTo>
                <a:cubicBezTo>
                  <a:pt x="741" y="81"/>
                  <a:pt x="734" y="98"/>
                  <a:pt x="725" y="100"/>
                </a:cubicBezTo>
                <a:cubicBezTo>
                  <a:pt x="721" y="101"/>
                  <a:pt x="717" y="100"/>
                  <a:pt x="714" y="100"/>
                </a:cubicBezTo>
                <a:cubicBezTo>
                  <a:pt x="714" y="100"/>
                  <a:pt x="712" y="102"/>
                  <a:pt x="712" y="102"/>
                </a:cubicBezTo>
                <a:cubicBezTo>
                  <a:pt x="706" y="104"/>
                  <a:pt x="699" y="101"/>
                  <a:pt x="691" y="102"/>
                </a:cubicBezTo>
                <a:cubicBezTo>
                  <a:pt x="690" y="158"/>
                  <a:pt x="691" y="215"/>
                  <a:pt x="690" y="270"/>
                </a:cubicBezTo>
                <a:cubicBezTo>
                  <a:pt x="689" y="270"/>
                  <a:pt x="687" y="270"/>
                  <a:pt x="686" y="270"/>
                </a:cubicBezTo>
                <a:cubicBezTo>
                  <a:pt x="684" y="270"/>
                  <a:pt x="687" y="264"/>
                  <a:pt x="684" y="265"/>
                </a:cubicBezTo>
                <a:cubicBezTo>
                  <a:pt x="680" y="265"/>
                  <a:pt x="677" y="265"/>
                  <a:pt x="673" y="265"/>
                </a:cubicBezTo>
                <a:cubicBezTo>
                  <a:pt x="673" y="254"/>
                  <a:pt x="673" y="242"/>
                  <a:pt x="673" y="230"/>
                </a:cubicBezTo>
                <a:cubicBezTo>
                  <a:pt x="666" y="230"/>
                  <a:pt x="658" y="233"/>
                  <a:pt x="652" y="231"/>
                </a:cubicBezTo>
                <a:cubicBezTo>
                  <a:pt x="652" y="236"/>
                  <a:pt x="652" y="240"/>
                  <a:pt x="652" y="244"/>
                </a:cubicBezTo>
                <a:cubicBezTo>
                  <a:pt x="658" y="245"/>
                  <a:pt x="663" y="242"/>
                  <a:pt x="671" y="243"/>
                </a:cubicBezTo>
                <a:cubicBezTo>
                  <a:pt x="671" y="251"/>
                  <a:pt x="671" y="258"/>
                  <a:pt x="671" y="265"/>
                </a:cubicBezTo>
                <a:cubicBezTo>
                  <a:pt x="654" y="265"/>
                  <a:pt x="637" y="265"/>
                  <a:pt x="620" y="265"/>
                </a:cubicBezTo>
                <a:cubicBezTo>
                  <a:pt x="620" y="274"/>
                  <a:pt x="620" y="283"/>
                  <a:pt x="620" y="293"/>
                </a:cubicBezTo>
                <a:cubicBezTo>
                  <a:pt x="601" y="297"/>
                  <a:pt x="578" y="294"/>
                  <a:pt x="562" y="289"/>
                </a:cubicBezTo>
                <a:cubicBezTo>
                  <a:pt x="563" y="288"/>
                  <a:pt x="562" y="283"/>
                  <a:pt x="561" y="285"/>
                </a:cubicBezTo>
                <a:cubicBezTo>
                  <a:pt x="561" y="285"/>
                  <a:pt x="561" y="285"/>
                  <a:pt x="561" y="285"/>
                </a:cubicBezTo>
                <a:close/>
                <a:moveTo>
                  <a:pt x="749" y="80"/>
                </a:moveTo>
                <a:cubicBezTo>
                  <a:pt x="751" y="86"/>
                  <a:pt x="749" y="94"/>
                  <a:pt x="750" y="100"/>
                </a:cubicBezTo>
                <a:cubicBezTo>
                  <a:pt x="743" y="100"/>
                  <a:pt x="737" y="100"/>
                  <a:pt x="731" y="100"/>
                </a:cubicBezTo>
                <a:cubicBezTo>
                  <a:pt x="730" y="98"/>
                  <a:pt x="736" y="94"/>
                  <a:pt x="739" y="90"/>
                </a:cubicBezTo>
                <a:cubicBezTo>
                  <a:pt x="743" y="87"/>
                  <a:pt x="746" y="83"/>
                  <a:pt x="749" y="80"/>
                </a:cubicBezTo>
                <a:close/>
                <a:moveTo>
                  <a:pt x="754" y="80"/>
                </a:moveTo>
                <a:cubicBezTo>
                  <a:pt x="762" y="85"/>
                  <a:pt x="771" y="94"/>
                  <a:pt x="776" y="100"/>
                </a:cubicBezTo>
                <a:cubicBezTo>
                  <a:pt x="769" y="100"/>
                  <a:pt x="761" y="100"/>
                  <a:pt x="754" y="100"/>
                </a:cubicBezTo>
                <a:cubicBezTo>
                  <a:pt x="754" y="94"/>
                  <a:pt x="754" y="87"/>
                  <a:pt x="754" y="80"/>
                </a:cubicBezTo>
                <a:close/>
                <a:moveTo>
                  <a:pt x="1032" y="220"/>
                </a:moveTo>
                <a:cubicBezTo>
                  <a:pt x="1035" y="222"/>
                  <a:pt x="1037" y="225"/>
                  <a:pt x="1039" y="227"/>
                </a:cubicBezTo>
                <a:cubicBezTo>
                  <a:pt x="1038" y="228"/>
                  <a:pt x="1034" y="227"/>
                  <a:pt x="1032" y="228"/>
                </a:cubicBezTo>
                <a:cubicBezTo>
                  <a:pt x="1032" y="225"/>
                  <a:pt x="1032" y="223"/>
                  <a:pt x="1032" y="220"/>
                </a:cubicBezTo>
                <a:close/>
                <a:moveTo>
                  <a:pt x="552" y="281"/>
                </a:moveTo>
                <a:cubicBezTo>
                  <a:pt x="554" y="280"/>
                  <a:pt x="551" y="284"/>
                  <a:pt x="550" y="285"/>
                </a:cubicBezTo>
                <a:cubicBezTo>
                  <a:pt x="548" y="283"/>
                  <a:pt x="551" y="282"/>
                  <a:pt x="552" y="281"/>
                </a:cubicBezTo>
                <a:close/>
                <a:moveTo>
                  <a:pt x="553" y="289"/>
                </a:moveTo>
                <a:cubicBezTo>
                  <a:pt x="553" y="289"/>
                  <a:pt x="552" y="289"/>
                  <a:pt x="552" y="289"/>
                </a:cubicBezTo>
                <a:cubicBezTo>
                  <a:pt x="551" y="289"/>
                  <a:pt x="552" y="290"/>
                  <a:pt x="552" y="291"/>
                </a:cubicBezTo>
                <a:cubicBezTo>
                  <a:pt x="549" y="291"/>
                  <a:pt x="549" y="289"/>
                  <a:pt x="550" y="287"/>
                </a:cubicBezTo>
                <a:cubicBezTo>
                  <a:pt x="551" y="286"/>
                  <a:pt x="554" y="285"/>
                  <a:pt x="553" y="289"/>
                </a:cubicBezTo>
                <a:close/>
                <a:moveTo>
                  <a:pt x="572" y="301"/>
                </a:moveTo>
                <a:cubicBezTo>
                  <a:pt x="571" y="299"/>
                  <a:pt x="570" y="303"/>
                  <a:pt x="570" y="303"/>
                </a:cubicBezTo>
                <a:cubicBezTo>
                  <a:pt x="567" y="301"/>
                  <a:pt x="570" y="299"/>
                  <a:pt x="569" y="295"/>
                </a:cubicBezTo>
                <a:cubicBezTo>
                  <a:pt x="567" y="295"/>
                  <a:pt x="568" y="299"/>
                  <a:pt x="566" y="299"/>
                </a:cubicBezTo>
                <a:cubicBezTo>
                  <a:pt x="565" y="296"/>
                  <a:pt x="568" y="296"/>
                  <a:pt x="567" y="294"/>
                </a:cubicBezTo>
                <a:cubicBezTo>
                  <a:pt x="565" y="295"/>
                  <a:pt x="566" y="299"/>
                  <a:pt x="563" y="299"/>
                </a:cubicBezTo>
                <a:cubicBezTo>
                  <a:pt x="564" y="297"/>
                  <a:pt x="564" y="295"/>
                  <a:pt x="565" y="293"/>
                </a:cubicBezTo>
                <a:cubicBezTo>
                  <a:pt x="562" y="294"/>
                  <a:pt x="562" y="296"/>
                  <a:pt x="561" y="300"/>
                </a:cubicBezTo>
                <a:cubicBezTo>
                  <a:pt x="561" y="295"/>
                  <a:pt x="559" y="295"/>
                  <a:pt x="563" y="292"/>
                </a:cubicBezTo>
                <a:cubicBezTo>
                  <a:pt x="563" y="291"/>
                  <a:pt x="560" y="292"/>
                  <a:pt x="561" y="293"/>
                </a:cubicBezTo>
                <a:cubicBezTo>
                  <a:pt x="559" y="292"/>
                  <a:pt x="561" y="291"/>
                  <a:pt x="562" y="290"/>
                </a:cubicBezTo>
                <a:cubicBezTo>
                  <a:pt x="577" y="294"/>
                  <a:pt x="601" y="298"/>
                  <a:pt x="619" y="293"/>
                </a:cubicBezTo>
                <a:cubicBezTo>
                  <a:pt x="621" y="295"/>
                  <a:pt x="619" y="299"/>
                  <a:pt x="620" y="302"/>
                </a:cubicBezTo>
                <a:cubicBezTo>
                  <a:pt x="606" y="302"/>
                  <a:pt x="593" y="302"/>
                  <a:pt x="579" y="302"/>
                </a:cubicBezTo>
                <a:cubicBezTo>
                  <a:pt x="579" y="304"/>
                  <a:pt x="579" y="307"/>
                  <a:pt x="579" y="310"/>
                </a:cubicBezTo>
                <a:cubicBezTo>
                  <a:pt x="576" y="310"/>
                  <a:pt x="572" y="309"/>
                  <a:pt x="570" y="310"/>
                </a:cubicBezTo>
                <a:cubicBezTo>
                  <a:pt x="571" y="309"/>
                  <a:pt x="572" y="309"/>
                  <a:pt x="572" y="307"/>
                </a:cubicBezTo>
                <a:cubicBezTo>
                  <a:pt x="571" y="308"/>
                  <a:pt x="569" y="310"/>
                  <a:pt x="570" y="307"/>
                </a:cubicBezTo>
                <a:cubicBezTo>
                  <a:pt x="567" y="309"/>
                  <a:pt x="568" y="312"/>
                  <a:pt x="565" y="313"/>
                </a:cubicBezTo>
                <a:cubicBezTo>
                  <a:pt x="567" y="308"/>
                  <a:pt x="567" y="307"/>
                  <a:pt x="572" y="301"/>
                </a:cubicBezTo>
                <a:close/>
                <a:moveTo>
                  <a:pt x="1236" y="329"/>
                </a:moveTo>
                <a:cubicBezTo>
                  <a:pt x="1229" y="329"/>
                  <a:pt x="1222" y="329"/>
                  <a:pt x="1215" y="329"/>
                </a:cubicBezTo>
                <a:cubicBezTo>
                  <a:pt x="1215" y="327"/>
                  <a:pt x="1215" y="325"/>
                  <a:pt x="1215" y="324"/>
                </a:cubicBezTo>
                <a:cubicBezTo>
                  <a:pt x="1210" y="323"/>
                  <a:pt x="1203" y="325"/>
                  <a:pt x="1199" y="323"/>
                </a:cubicBezTo>
                <a:cubicBezTo>
                  <a:pt x="1198" y="317"/>
                  <a:pt x="1205" y="319"/>
                  <a:pt x="1208" y="319"/>
                </a:cubicBezTo>
                <a:cubicBezTo>
                  <a:pt x="1218" y="318"/>
                  <a:pt x="1229" y="315"/>
                  <a:pt x="1235" y="311"/>
                </a:cubicBezTo>
                <a:cubicBezTo>
                  <a:pt x="1238" y="314"/>
                  <a:pt x="1235" y="323"/>
                  <a:pt x="1236" y="329"/>
                </a:cubicBezTo>
                <a:close/>
                <a:moveTo>
                  <a:pt x="1399" y="359"/>
                </a:moveTo>
                <a:cubicBezTo>
                  <a:pt x="1400" y="368"/>
                  <a:pt x="1399" y="385"/>
                  <a:pt x="1399" y="398"/>
                </a:cubicBezTo>
                <a:cubicBezTo>
                  <a:pt x="1398" y="389"/>
                  <a:pt x="1399" y="371"/>
                  <a:pt x="1399" y="359"/>
                </a:cubicBezTo>
                <a:close/>
                <a:moveTo>
                  <a:pt x="1228" y="374"/>
                </a:moveTo>
                <a:cubicBezTo>
                  <a:pt x="1229" y="374"/>
                  <a:pt x="1229" y="374"/>
                  <a:pt x="1230" y="374"/>
                </a:cubicBezTo>
                <a:cubicBezTo>
                  <a:pt x="1232" y="380"/>
                  <a:pt x="1232" y="396"/>
                  <a:pt x="1230" y="403"/>
                </a:cubicBezTo>
                <a:cubicBezTo>
                  <a:pt x="1227" y="396"/>
                  <a:pt x="1229" y="383"/>
                  <a:pt x="1228" y="374"/>
                </a:cubicBezTo>
                <a:close/>
                <a:moveTo>
                  <a:pt x="1234" y="374"/>
                </a:moveTo>
                <a:cubicBezTo>
                  <a:pt x="1234" y="374"/>
                  <a:pt x="1234" y="374"/>
                  <a:pt x="1235" y="374"/>
                </a:cubicBezTo>
                <a:cubicBezTo>
                  <a:pt x="1237" y="380"/>
                  <a:pt x="1237" y="396"/>
                  <a:pt x="1235" y="403"/>
                </a:cubicBezTo>
                <a:cubicBezTo>
                  <a:pt x="1232" y="396"/>
                  <a:pt x="1234" y="383"/>
                  <a:pt x="1234" y="374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3" name="Rectangle 2"/>
          <p:cNvSpPr/>
          <p:nvPr/>
        </p:nvSpPr>
        <p:spPr bwMode="ltGray">
          <a:xfrm>
            <a:off x="0" y="6102624"/>
            <a:ext cx="9143999" cy="8547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539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endParaRPr lang="en-GB" sz="1539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885" name="Freeform 728"/>
          <p:cNvSpPr>
            <a:spLocks noEditPoints="1"/>
          </p:cNvSpPr>
          <p:nvPr/>
        </p:nvSpPr>
        <p:spPr bwMode="auto">
          <a:xfrm>
            <a:off x="692805" y="4517999"/>
            <a:ext cx="1993082" cy="713313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886" name="Freeform 783"/>
          <p:cNvSpPr>
            <a:spLocks noEditPoints="1"/>
          </p:cNvSpPr>
          <p:nvPr/>
        </p:nvSpPr>
        <p:spPr bwMode="auto">
          <a:xfrm>
            <a:off x="1419333" y="3381047"/>
            <a:ext cx="1736453" cy="1895760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887" name="Group 886"/>
          <p:cNvGrpSpPr/>
          <p:nvPr/>
        </p:nvGrpSpPr>
        <p:grpSpPr>
          <a:xfrm>
            <a:off x="904415" y="4584461"/>
            <a:ext cx="297531" cy="654024"/>
            <a:chOff x="4300538" y="3905250"/>
            <a:chExt cx="1041400" cy="2289175"/>
          </a:xfrm>
        </p:grpSpPr>
        <p:sp>
          <p:nvSpPr>
            <p:cNvPr id="888" name="Freeform 150"/>
            <p:cNvSpPr>
              <a:spLocks noEditPoints="1"/>
            </p:cNvSpPr>
            <p:nvPr/>
          </p:nvSpPr>
          <p:spPr bwMode="auto">
            <a:xfrm>
              <a:off x="4300538" y="3905250"/>
              <a:ext cx="1041400" cy="2289175"/>
            </a:xfrm>
            <a:custGeom>
              <a:avLst/>
              <a:gdLst>
                <a:gd name="T0" fmla="*/ 626 w 656"/>
                <a:gd name="T1" fmla="*/ 1372 h 1442"/>
                <a:gd name="T2" fmla="*/ 510 w 656"/>
                <a:gd name="T3" fmla="*/ 1188 h 1442"/>
                <a:gd name="T4" fmla="*/ 468 w 656"/>
                <a:gd name="T5" fmla="*/ 1004 h 1442"/>
                <a:gd name="T6" fmla="*/ 444 w 656"/>
                <a:gd name="T7" fmla="*/ 882 h 1442"/>
                <a:gd name="T8" fmla="*/ 444 w 656"/>
                <a:gd name="T9" fmla="*/ 768 h 1442"/>
                <a:gd name="T10" fmla="*/ 414 w 656"/>
                <a:gd name="T11" fmla="*/ 686 h 1442"/>
                <a:gd name="T12" fmla="*/ 418 w 656"/>
                <a:gd name="T13" fmla="*/ 522 h 1442"/>
                <a:gd name="T14" fmla="*/ 434 w 656"/>
                <a:gd name="T15" fmla="*/ 462 h 1442"/>
                <a:gd name="T16" fmla="*/ 396 w 656"/>
                <a:gd name="T17" fmla="*/ 320 h 1442"/>
                <a:gd name="T18" fmla="*/ 378 w 656"/>
                <a:gd name="T19" fmla="*/ 280 h 1442"/>
                <a:gd name="T20" fmla="*/ 362 w 656"/>
                <a:gd name="T21" fmla="*/ 226 h 1442"/>
                <a:gd name="T22" fmla="*/ 398 w 656"/>
                <a:gd name="T23" fmla="*/ 182 h 1442"/>
                <a:gd name="T24" fmla="*/ 412 w 656"/>
                <a:gd name="T25" fmla="*/ 118 h 1442"/>
                <a:gd name="T26" fmla="*/ 402 w 656"/>
                <a:gd name="T27" fmla="*/ 72 h 1442"/>
                <a:gd name="T28" fmla="*/ 390 w 656"/>
                <a:gd name="T29" fmla="*/ 46 h 1442"/>
                <a:gd name="T30" fmla="*/ 390 w 656"/>
                <a:gd name="T31" fmla="*/ 22 h 1442"/>
                <a:gd name="T32" fmla="*/ 344 w 656"/>
                <a:gd name="T33" fmla="*/ 0 h 1442"/>
                <a:gd name="T34" fmla="*/ 316 w 656"/>
                <a:gd name="T35" fmla="*/ 6 h 1442"/>
                <a:gd name="T36" fmla="*/ 252 w 656"/>
                <a:gd name="T37" fmla="*/ 22 h 1442"/>
                <a:gd name="T38" fmla="*/ 206 w 656"/>
                <a:gd name="T39" fmla="*/ 96 h 1442"/>
                <a:gd name="T40" fmla="*/ 168 w 656"/>
                <a:gd name="T41" fmla="*/ 130 h 1442"/>
                <a:gd name="T42" fmla="*/ 170 w 656"/>
                <a:gd name="T43" fmla="*/ 144 h 1442"/>
                <a:gd name="T44" fmla="*/ 168 w 656"/>
                <a:gd name="T45" fmla="*/ 184 h 1442"/>
                <a:gd name="T46" fmla="*/ 162 w 656"/>
                <a:gd name="T47" fmla="*/ 200 h 1442"/>
                <a:gd name="T48" fmla="*/ 174 w 656"/>
                <a:gd name="T49" fmla="*/ 218 h 1442"/>
                <a:gd name="T50" fmla="*/ 210 w 656"/>
                <a:gd name="T51" fmla="*/ 222 h 1442"/>
                <a:gd name="T52" fmla="*/ 252 w 656"/>
                <a:gd name="T53" fmla="*/ 234 h 1442"/>
                <a:gd name="T54" fmla="*/ 242 w 656"/>
                <a:gd name="T55" fmla="*/ 266 h 1442"/>
                <a:gd name="T56" fmla="*/ 206 w 656"/>
                <a:gd name="T57" fmla="*/ 334 h 1442"/>
                <a:gd name="T58" fmla="*/ 204 w 656"/>
                <a:gd name="T59" fmla="*/ 464 h 1442"/>
                <a:gd name="T60" fmla="*/ 202 w 656"/>
                <a:gd name="T61" fmla="*/ 508 h 1442"/>
                <a:gd name="T62" fmla="*/ 182 w 656"/>
                <a:gd name="T63" fmla="*/ 612 h 1442"/>
                <a:gd name="T64" fmla="*/ 164 w 656"/>
                <a:gd name="T65" fmla="*/ 760 h 1442"/>
                <a:gd name="T66" fmla="*/ 166 w 656"/>
                <a:gd name="T67" fmla="*/ 812 h 1442"/>
                <a:gd name="T68" fmla="*/ 72 w 656"/>
                <a:gd name="T69" fmla="*/ 832 h 1442"/>
                <a:gd name="T70" fmla="*/ 30 w 656"/>
                <a:gd name="T71" fmla="*/ 936 h 1442"/>
                <a:gd name="T72" fmla="*/ 4 w 656"/>
                <a:gd name="T73" fmla="*/ 1096 h 1442"/>
                <a:gd name="T74" fmla="*/ 96 w 656"/>
                <a:gd name="T75" fmla="*/ 1232 h 1442"/>
                <a:gd name="T76" fmla="*/ 74 w 656"/>
                <a:gd name="T77" fmla="*/ 1296 h 1442"/>
                <a:gd name="T78" fmla="*/ 54 w 656"/>
                <a:gd name="T79" fmla="*/ 1348 h 1442"/>
                <a:gd name="T80" fmla="*/ 74 w 656"/>
                <a:gd name="T81" fmla="*/ 1424 h 1442"/>
                <a:gd name="T82" fmla="*/ 84 w 656"/>
                <a:gd name="T83" fmla="*/ 1400 h 1442"/>
                <a:gd name="T84" fmla="*/ 106 w 656"/>
                <a:gd name="T85" fmla="*/ 1382 h 1442"/>
                <a:gd name="T86" fmla="*/ 142 w 656"/>
                <a:gd name="T87" fmla="*/ 1440 h 1442"/>
                <a:gd name="T88" fmla="*/ 224 w 656"/>
                <a:gd name="T89" fmla="*/ 1418 h 1442"/>
                <a:gd name="T90" fmla="*/ 162 w 656"/>
                <a:gd name="T91" fmla="*/ 1384 h 1442"/>
                <a:gd name="T92" fmla="*/ 152 w 656"/>
                <a:gd name="T93" fmla="*/ 1268 h 1442"/>
                <a:gd name="T94" fmla="*/ 262 w 656"/>
                <a:gd name="T95" fmla="*/ 1164 h 1442"/>
                <a:gd name="T96" fmla="*/ 366 w 656"/>
                <a:gd name="T97" fmla="*/ 1100 h 1442"/>
                <a:gd name="T98" fmla="*/ 416 w 656"/>
                <a:gd name="T99" fmla="*/ 1162 h 1442"/>
                <a:gd name="T100" fmla="*/ 484 w 656"/>
                <a:gd name="T101" fmla="*/ 1302 h 1442"/>
                <a:gd name="T102" fmla="*/ 484 w 656"/>
                <a:gd name="T103" fmla="*/ 1370 h 1442"/>
                <a:gd name="T104" fmla="*/ 522 w 656"/>
                <a:gd name="T105" fmla="*/ 1440 h 1442"/>
                <a:gd name="T106" fmla="*/ 514 w 656"/>
                <a:gd name="T107" fmla="*/ 1378 h 1442"/>
                <a:gd name="T108" fmla="*/ 558 w 656"/>
                <a:gd name="T109" fmla="*/ 1406 h 1442"/>
                <a:gd name="T110" fmla="*/ 622 w 656"/>
                <a:gd name="T111" fmla="*/ 1416 h 1442"/>
                <a:gd name="T112" fmla="*/ 650 w 656"/>
                <a:gd name="T113" fmla="*/ 1368 h 1442"/>
                <a:gd name="T114" fmla="*/ 410 w 656"/>
                <a:gd name="T115" fmla="*/ 81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6" h="1442">
                  <a:moveTo>
                    <a:pt x="404" y="28"/>
                  </a:moveTo>
                  <a:lnTo>
                    <a:pt x="404" y="28"/>
                  </a:lnTo>
                  <a:lnTo>
                    <a:pt x="404" y="28"/>
                  </a:lnTo>
                  <a:close/>
                  <a:moveTo>
                    <a:pt x="650" y="1368"/>
                  </a:moveTo>
                  <a:lnTo>
                    <a:pt x="650" y="1368"/>
                  </a:lnTo>
                  <a:lnTo>
                    <a:pt x="638" y="1370"/>
                  </a:lnTo>
                  <a:lnTo>
                    <a:pt x="626" y="1372"/>
                  </a:lnTo>
                  <a:lnTo>
                    <a:pt x="604" y="1378"/>
                  </a:lnTo>
                  <a:lnTo>
                    <a:pt x="604" y="1378"/>
                  </a:lnTo>
                  <a:lnTo>
                    <a:pt x="568" y="1320"/>
                  </a:lnTo>
                  <a:lnTo>
                    <a:pt x="550" y="1284"/>
                  </a:lnTo>
                  <a:lnTo>
                    <a:pt x="534" y="1252"/>
                  </a:lnTo>
                  <a:lnTo>
                    <a:pt x="534" y="1252"/>
                  </a:lnTo>
                  <a:lnTo>
                    <a:pt x="510" y="1188"/>
                  </a:lnTo>
                  <a:lnTo>
                    <a:pt x="490" y="1124"/>
                  </a:lnTo>
                  <a:lnTo>
                    <a:pt x="476" y="1072"/>
                  </a:lnTo>
                  <a:lnTo>
                    <a:pt x="470" y="1050"/>
                  </a:lnTo>
                  <a:lnTo>
                    <a:pt x="470" y="1050"/>
                  </a:lnTo>
                  <a:lnTo>
                    <a:pt x="472" y="1042"/>
                  </a:lnTo>
                  <a:lnTo>
                    <a:pt x="472" y="1030"/>
                  </a:lnTo>
                  <a:lnTo>
                    <a:pt x="468" y="1004"/>
                  </a:lnTo>
                  <a:lnTo>
                    <a:pt x="466" y="982"/>
                  </a:lnTo>
                  <a:lnTo>
                    <a:pt x="466" y="974"/>
                  </a:lnTo>
                  <a:lnTo>
                    <a:pt x="466" y="970"/>
                  </a:lnTo>
                  <a:lnTo>
                    <a:pt x="466" y="970"/>
                  </a:lnTo>
                  <a:lnTo>
                    <a:pt x="460" y="940"/>
                  </a:lnTo>
                  <a:lnTo>
                    <a:pt x="452" y="912"/>
                  </a:lnTo>
                  <a:lnTo>
                    <a:pt x="444" y="882"/>
                  </a:lnTo>
                  <a:lnTo>
                    <a:pt x="436" y="852"/>
                  </a:lnTo>
                  <a:lnTo>
                    <a:pt x="460" y="836"/>
                  </a:lnTo>
                  <a:lnTo>
                    <a:pt x="462" y="802"/>
                  </a:lnTo>
                  <a:lnTo>
                    <a:pt x="452" y="786"/>
                  </a:lnTo>
                  <a:lnTo>
                    <a:pt x="452" y="786"/>
                  </a:lnTo>
                  <a:lnTo>
                    <a:pt x="448" y="778"/>
                  </a:lnTo>
                  <a:lnTo>
                    <a:pt x="444" y="768"/>
                  </a:lnTo>
                  <a:lnTo>
                    <a:pt x="430" y="730"/>
                  </a:lnTo>
                  <a:lnTo>
                    <a:pt x="430" y="730"/>
                  </a:lnTo>
                  <a:lnTo>
                    <a:pt x="426" y="718"/>
                  </a:lnTo>
                  <a:lnTo>
                    <a:pt x="424" y="708"/>
                  </a:lnTo>
                  <a:lnTo>
                    <a:pt x="420" y="698"/>
                  </a:lnTo>
                  <a:lnTo>
                    <a:pt x="414" y="686"/>
                  </a:lnTo>
                  <a:lnTo>
                    <a:pt x="414" y="686"/>
                  </a:lnTo>
                  <a:lnTo>
                    <a:pt x="418" y="676"/>
                  </a:lnTo>
                  <a:lnTo>
                    <a:pt x="422" y="662"/>
                  </a:lnTo>
                  <a:lnTo>
                    <a:pt x="424" y="636"/>
                  </a:lnTo>
                  <a:lnTo>
                    <a:pt x="424" y="608"/>
                  </a:lnTo>
                  <a:lnTo>
                    <a:pt x="422" y="578"/>
                  </a:lnTo>
                  <a:lnTo>
                    <a:pt x="418" y="550"/>
                  </a:lnTo>
                  <a:lnTo>
                    <a:pt x="418" y="522"/>
                  </a:lnTo>
                  <a:lnTo>
                    <a:pt x="418" y="494"/>
                  </a:lnTo>
                  <a:lnTo>
                    <a:pt x="420" y="482"/>
                  </a:lnTo>
                  <a:lnTo>
                    <a:pt x="424" y="472"/>
                  </a:lnTo>
                  <a:lnTo>
                    <a:pt x="424" y="472"/>
                  </a:lnTo>
                  <a:lnTo>
                    <a:pt x="428" y="470"/>
                  </a:lnTo>
                  <a:lnTo>
                    <a:pt x="432" y="468"/>
                  </a:lnTo>
                  <a:lnTo>
                    <a:pt x="434" y="462"/>
                  </a:lnTo>
                  <a:lnTo>
                    <a:pt x="436" y="452"/>
                  </a:lnTo>
                  <a:lnTo>
                    <a:pt x="434" y="440"/>
                  </a:lnTo>
                  <a:lnTo>
                    <a:pt x="426" y="416"/>
                  </a:lnTo>
                  <a:lnTo>
                    <a:pt x="418" y="394"/>
                  </a:lnTo>
                  <a:lnTo>
                    <a:pt x="418" y="394"/>
                  </a:lnTo>
                  <a:lnTo>
                    <a:pt x="402" y="340"/>
                  </a:lnTo>
                  <a:lnTo>
                    <a:pt x="396" y="320"/>
                  </a:lnTo>
                  <a:lnTo>
                    <a:pt x="396" y="312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00"/>
                  </a:lnTo>
                  <a:lnTo>
                    <a:pt x="392" y="294"/>
                  </a:lnTo>
                  <a:lnTo>
                    <a:pt x="386" y="286"/>
                  </a:lnTo>
                  <a:lnTo>
                    <a:pt x="378" y="280"/>
                  </a:lnTo>
                  <a:lnTo>
                    <a:pt x="364" y="268"/>
                  </a:lnTo>
                  <a:lnTo>
                    <a:pt x="360" y="260"/>
                  </a:lnTo>
                  <a:lnTo>
                    <a:pt x="358" y="254"/>
                  </a:lnTo>
                  <a:lnTo>
                    <a:pt x="358" y="254"/>
                  </a:lnTo>
                  <a:lnTo>
                    <a:pt x="362" y="238"/>
                  </a:lnTo>
                  <a:lnTo>
                    <a:pt x="362" y="232"/>
                  </a:lnTo>
                  <a:lnTo>
                    <a:pt x="362" y="226"/>
                  </a:lnTo>
                  <a:lnTo>
                    <a:pt x="362" y="226"/>
                  </a:lnTo>
                  <a:lnTo>
                    <a:pt x="364" y="212"/>
                  </a:lnTo>
                  <a:lnTo>
                    <a:pt x="366" y="204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92" y="188"/>
                  </a:lnTo>
                  <a:lnTo>
                    <a:pt x="398" y="182"/>
                  </a:lnTo>
                  <a:lnTo>
                    <a:pt x="400" y="178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2" y="170"/>
                  </a:lnTo>
                  <a:lnTo>
                    <a:pt x="406" y="154"/>
                  </a:lnTo>
                  <a:lnTo>
                    <a:pt x="412" y="118"/>
                  </a:lnTo>
                  <a:lnTo>
                    <a:pt x="412" y="118"/>
                  </a:lnTo>
                  <a:lnTo>
                    <a:pt x="412" y="112"/>
                  </a:lnTo>
                  <a:lnTo>
                    <a:pt x="408" y="104"/>
                  </a:lnTo>
                  <a:lnTo>
                    <a:pt x="406" y="100"/>
                  </a:lnTo>
                  <a:lnTo>
                    <a:pt x="406" y="100"/>
                  </a:lnTo>
                  <a:lnTo>
                    <a:pt x="404" y="84"/>
                  </a:lnTo>
                  <a:lnTo>
                    <a:pt x="404" y="84"/>
                  </a:lnTo>
                  <a:lnTo>
                    <a:pt x="402" y="72"/>
                  </a:lnTo>
                  <a:lnTo>
                    <a:pt x="400" y="6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2" y="46"/>
                  </a:lnTo>
                  <a:lnTo>
                    <a:pt x="392" y="46"/>
                  </a:lnTo>
                  <a:lnTo>
                    <a:pt x="390" y="46"/>
                  </a:lnTo>
                  <a:lnTo>
                    <a:pt x="390" y="46"/>
                  </a:lnTo>
                  <a:lnTo>
                    <a:pt x="398" y="40"/>
                  </a:lnTo>
                  <a:lnTo>
                    <a:pt x="404" y="36"/>
                  </a:lnTo>
                  <a:lnTo>
                    <a:pt x="404" y="32"/>
                  </a:lnTo>
                  <a:lnTo>
                    <a:pt x="404" y="28"/>
                  </a:lnTo>
                  <a:lnTo>
                    <a:pt x="404" y="28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84" y="18"/>
                  </a:lnTo>
                  <a:lnTo>
                    <a:pt x="370" y="8"/>
                  </a:lnTo>
                  <a:lnTo>
                    <a:pt x="360" y="4"/>
                  </a:lnTo>
                  <a:lnTo>
                    <a:pt x="352" y="2"/>
                  </a:lnTo>
                  <a:lnTo>
                    <a:pt x="344" y="0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30" y="2"/>
                  </a:lnTo>
                  <a:lnTo>
                    <a:pt x="324" y="4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6" y="6"/>
                  </a:lnTo>
                  <a:lnTo>
                    <a:pt x="316" y="6"/>
                  </a:lnTo>
                  <a:lnTo>
                    <a:pt x="304" y="6"/>
                  </a:lnTo>
                  <a:lnTo>
                    <a:pt x="292" y="6"/>
                  </a:lnTo>
                  <a:lnTo>
                    <a:pt x="282" y="8"/>
                  </a:lnTo>
                  <a:lnTo>
                    <a:pt x="270" y="10"/>
                  </a:lnTo>
                  <a:lnTo>
                    <a:pt x="260" y="16"/>
                  </a:lnTo>
                  <a:lnTo>
                    <a:pt x="252" y="22"/>
                  </a:lnTo>
                  <a:lnTo>
                    <a:pt x="244" y="30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24" y="58"/>
                  </a:lnTo>
                  <a:lnTo>
                    <a:pt x="214" y="7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192" y="120"/>
                  </a:lnTo>
                  <a:lnTo>
                    <a:pt x="182" y="140"/>
                  </a:lnTo>
                  <a:lnTo>
                    <a:pt x="182" y="140"/>
                  </a:lnTo>
                  <a:lnTo>
                    <a:pt x="174" y="138"/>
                  </a:lnTo>
                  <a:lnTo>
                    <a:pt x="170" y="136"/>
                  </a:lnTo>
                  <a:lnTo>
                    <a:pt x="168" y="132"/>
                  </a:lnTo>
                  <a:lnTo>
                    <a:pt x="168" y="130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66" y="128"/>
                  </a:lnTo>
                  <a:lnTo>
                    <a:pt x="164" y="134"/>
                  </a:lnTo>
                  <a:lnTo>
                    <a:pt x="166" y="138"/>
                  </a:lnTo>
                  <a:lnTo>
                    <a:pt x="170" y="144"/>
                  </a:lnTo>
                  <a:lnTo>
                    <a:pt x="178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72" y="160"/>
                  </a:lnTo>
                  <a:lnTo>
                    <a:pt x="168" y="168"/>
                  </a:lnTo>
                  <a:lnTo>
                    <a:pt x="166" y="176"/>
                  </a:lnTo>
                  <a:lnTo>
                    <a:pt x="168" y="184"/>
                  </a:lnTo>
                  <a:lnTo>
                    <a:pt x="170" y="190"/>
                  </a:lnTo>
                  <a:lnTo>
                    <a:pt x="174" y="196"/>
                  </a:lnTo>
                  <a:lnTo>
                    <a:pt x="178" y="200"/>
                  </a:lnTo>
                  <a:lnTo>
                    <a:pt x="178" y="200"/>
                  </a:lnTo>
                  <a:lnTo>
                    <a:pt x="168" y="202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72" y="204"/>
                  </a:lnTo>
                  <a:lnTo>
                    <a:pt x="182" y="206"/>
                  </a:lnTo>
                  <a:lnTo>
                    <a:pt x="190" y="204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6" y="220"/>
                  </a:lnTo>
                  <a:lnTo>
                    <a:pt x="174" y="218"/>
                  </a:lnTo>
                  <a:lnTo>
                    <a:pt x="174" y="218"/>
                  </a:lnTo>
                  <a:lnTo>
                    <a:pt x="182" y="222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204" y="224"/>
                  </a:lnTo>
                  <a:lnTo>
                    <a:pt x="204" y="224"/>
                  </a:lnTo>
                  <a:lnTo>
                    <a:pt x="210" y="222"/>
                  </a:lnTo>
                  <a:lnTo>
                    <a:pt x="214" y="220"/>
                  </a:lnTo>
                  <a:lnTo>
                    <a:pt x="218" y="226"/>
                  </a:lnTo>
                  <a:lnTo>
                    <a:pt x="218" y="226"/>
                  </a:lnTo>
                  <a:lnTo>
                    <a:pt x="244" y="228"/>
                  </a:lnTo>
                  <a:lnTo>
                    <a:pt x="244" y="228"/>
                  </a:lnTo>
                  <a:lnTo>
                    <a:pt x="250" y="230"/>
                  </a:lnTo>
                  <a:lnTo>
                    <a:pt x="252" y="234"/>
                  </a:lnTo>
                  <a:lnTo>
                    <a:pt x="252" y="240"/>
                  </a:lnTo>
                  <a:lnTo>
                    <a:pt x="254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4" y="252"/>
                  </a:lnTo>
                  <a:lnTo>
                    <a:pt x="254" y="252"/>
                  </a:lnTo>
                  <a:lnTo>
                    <a:pt x="242" y="266"/>
                  </a:lnTo>
                  <a:lnTo>
                    <a:pt x="230" y="282"/>
                  </a:lnTo>
                  <a:lnTo>
                    <a:pt x="230" y="282"/>
                  </a:lnTo>
                  <a:lnTo>
                    <a:pt x="222" y="292"/>
                  </a:lnTo>
                  <a:lnTo>
                    <a:pt x="216" y="304"/>
                  </a:lnTo>
                  <a:lnTo>
                    <a:pt x="210" y="318"/>
                  </a:lnTo>
                  <a:lnTo>
                    <a:pt x="206" y="334"/>
                  </a:lnTo>
                  <a:lnTo>
                    <a:pt x="206" y="334"/>
                  </a:lnTo>
                  <a:lnTo>
                    <a:pt x="200" y="384"/>
                  </a:lnTo>
                  <a:lnTo>
                    <a:pt x="198" y="406"/>
                  </a:lnTo>
                  <a:lnTo>
                    <a:pt x="200" y="418"/>
                  </a:lnTo>
                  <a:lnTo>
                    <a:pt x="200" y="418"/>
                  </a:lnTo>
                  <a:lnTo>
                    <a:pt x="200" y="442"/>
                  </a:lnTo>
                  <a:lnTo>
                    <a:pt x="204" y="464"/>
                  </a:lnTo>
                  <a:lnTo>
                    <a:pt x="204" y="464"/>
                  </a:lnTo>
                  <a:lnTo>
                    <a:pt x="204" y="488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202" y="510"/>
                  </a:lnTo>
                  <a:lnTo>
                    <a:pt x="202" y="510"/>
                  </a:lnTo>
                  <a:lnTo>
                    <a:pt x="202" y="508"/>
                  </a:lnTo>
                  <a:lnTo>
                    <a:pt x="202" y="508"/>
                  </a:lnTo>
                  <a:lnTo>
                    <a:pt x="198" y="514"/>
                  </a:lnTo>
                  <a:lnTo>
                    <a:pt x="194" y="522"/>
                  </a:lnTo>
                  <a:lnTo>
                    <a:pt x="194" y="522"/>
                  </a:lnTo>
                  <a:lnTo>
                    <a:pt x="188" y="552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2" y="612"/>
                  </a:lnTo>
                  <a:lnTo>
                    <a:pt x="176" y="646"/>
                  </a:lnTo>
                  <a:lnTo>
                    <a:pt x="164" y="710"/>
                  </a:lnTo>
                  <a:lnTo>
                    <a:pt x="164" y="710"/>
                  </a:lnTo>
                  <a:lnTo>
                    <a:pt x="162" y="718"/>
                  </a:lnTo>
                  <a:lnTo>
                    <a:pt x="162" y="724"/>
                  </a:lnTo>
                  <a:lnTo>
                    <a:pt x="166" y="728"/>
                  </a:lnTo>
                  <a:lnTo>
                    <a:pt x="164" y="760"/>
                  </a:lnTo>
                  <a:lnTo>
                    <a:pt x="164" y="760"/>
                  </a:lnTo>
                  <a:lnTo>
                    <a:pt x="168" y="776"/>
                  </a:lnTo>
                  <a:lnTo>
                    <a:pt x="172" y="790"/>
                  </a:lnTo>
                  <a:lnTo>
                    <a:pt x="174" y="790"/>
                  </a:lnTo>
                  <a:lnTo>
                    <a:pt x="174" y="790"/>
                  </a:lnTo>
                  <a:lnTo>
                    <a:pt x="170" y="802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32" y="812"/>
                  </a:lnTo>
                  <a:lnTo>
                    <a:pt x="116" y="814"/>
                  </a:lnTo>
                  <a:lnTo>
                    <a:pt x="102" y="818"/>
                  </a:lnTo>
                  <a:lnTo>
                    <a:pt x="92" y="822"/>
                  </a:lnTo>
                  <a:lnTo>
                    <a:pt x="80" y="826"/>
                  </a:lnTo>
                  <a:lnTo>
                    <a:pt x="72" y="832"/>
                  </a:lnTo>
                  <a:lnTo>
                    <a:pt x="64" y="840"/>
                  </a:lnTo>
                  <a:lnTo>
                    <a:pt x="56" y="848"/>
                  </a:lnTo>
                  <a:lnTo>
                    <a:pt x="50" y="858"/>
                  </a:lnTo>
                  <a:lnTo>
                    <a:pt x="42" y="880"/>
                  </a:lnTo>
                  <a:lnTo>
                    <a:pt x="34" y="906"/>
                  </a:lnTo>
                  <a:lnTo>
                    <a:pt x="30" y="936"/>
                  </a:lnTo>
                  <a:lnTo>
                    <a:pt x="30" y="936"/>
                  </a:lnTo>
                  <a:lnTo>
                    <a:pt x="26" y="960"/>
                  </a:lnTo>
                  <a:lnTo>
                    <a:pt x="20" y="980"/>
                  </a:lnTo>
                  <a:lnTo>
                    <a:pt x="6" y="1020"/>
                  </a:lnTo>
                  <a:lnTo>
                    <a:pt x="2" y="1040"/>
                  </a:lnTo>
                  <a:lnTo>
                    <a:pt x="0" y="1058"/>
                  </a:lnTo>
                  <a:lnTo>
                    <a:pt x="0" y="1078"/>
                  </a:lnTo>
                  <a:lnTo>
                    <a:pt x="4" y="1096"/>
                  </a:lnTo>
                  <a:lnTo>
                    <a:pt x="4" y="1096"/>
                  </a:lnTo>
                  <a:lnTo>
                    <a:pt x="50" y="1116"/>
                  </a:lnTo>
                  <a:lnTo>
                    <a:pt x="98" y="1132"/>
                  </a:lnTo>
                  <a:lnTo>
                    <a:pt x="98" y="1132"/>
                  </a:lnTo>
                  <a:lnTo>
                    <a:pt x="98" y="1164"/>
                  </a:lnTo>
                  <a:lnTo>
                    <a:pt x="96" y="1208"/>
                  </a:lnTo>
                  <a:lnTo>
                    <a:pt x="96" y="1232"/>
                  </a:lnTo>
                  <a:lnTo>
                    <a:pt x="92" y="1256"/>
                  </a:lnTo>
                  <a:lnTo>
                    <a:pt x="88" y="1280"/>
                  </a:lnTo>
                  <a:lnTo>
                    <a:pt x="82" y="1300"/>
                  </a:lnTo>
                  <a:lnTo>
                    <a:pt x="82" y="1300"/>
                  </a:lnTo>
                  <a:lnTo>
                    <a:pt x="78" y="1296"/>
                  </a:lnTo>
                  <a:lnTo>
                    <a:pt x="74" y="1296"/>
                  </a:lnTo>
                  <a:lnTo>
                    <a:pt x="74" y="1296"/>
                  </a:lnTo>
                  <a:lnTo>
                    <a:pt x="70" y="1296"/>
                  </a:lnTo>
                  <a:lnTo>
                    <a:pt x="66" y="1300"/>
                  </a:lnTo>
                  <a:lnTo>
                    <a:pt x="58" y="1312"/>
                  </a:lnTo>
                  <a:lnTo>
                    <a:pt x="54" y="1326"/>
                  </a:lnTo>
                  <a:lnTo>
                    <a:pt x="52" y="1338"/>
                  </a:lnTo>
                  <a:lnTo>
                    <a:pt x="52" y="1338"/>
                  </a:lnTo>
                  <a:lnTo>
                    <a:pt x="54" y="1348"/>
                  </a:lnTo>
                  <a:lnTo>
                    <a:pt x="60" y="1358"/>
                  </a:lnTo>
                  <a:lnTo>
                    <a:pt x="64" y="1370"/>
                  </a:lnTo>
                  <a:lnTo>
                    <a:pt x="68" y="1384"/>
                  </a:lnTo>
                  <a:lnTo>
                    <a:pt x="68" y="1384"/>
                  </a:lnTo>
                  <a:lnTo>
                    <a:pt x="74" y="1410"/>
                  </a:lnTo>
                  <a:lnTo>
                    <a:pt x="74" y="1410"/>
                  </a:lnTo>
                  <a:lnTo>
                    <a:pt x="74" y="1424"/>
                  </a:lnTo>
                  <a:lnTo>
                    <a:pt x="76" y="1430"/>
                  </a:lnTo>
                  <a:lnTo>
                    <a:pt x="78" y="1432"/>
                  </a:lnTo>
                  <a:lnTo>
                    <a:pt x="82" y="1434"/>
                  </a:lnTo>
                  <a:lnTo>
                    <a:pt x="82" y="1434"/>
                  </a:lnTo>
                  <a:lnTo>
                    <a:pt x="84" y="1426"/>
                  </a:lnTo>
                  <a:lnTo>
                    <a:pt x="84" y="1418"/>
                  </a:lnTo>
                  <a:lnTo>
                    <a:pt x="84" y="1400"/>
                  </a:lnTo>
                  <a:lnTo>
                    <a:pt x="84" y="1384"/>
                  </a:lnTo>
                  <a:lnTo>
                    <a:pt x="86" y="1376"/>
                  </a:lnTo>
                  <a:lnTo>
                    <a:pt x="90" y="1372"/>
                  </a:lnTo>
                  <a:lnTo>
                    <a:pt x="90" y="1372"/>
                  </a:lnTo>
                  <a:lnTo>
                    <a:pt x="94" y="1372"/>
                  </a:lnTo>
                  <a:lnTo>
                    <a:pt x="98" y="1374"/>
                  </a:lnTo>
                  <a:lnTo>
                    <a:pt x="106" y="1382"/>
                  </a:lnTo>
                  <a:lnTo>
                    <a:pt x="110" y="1390"/>
                  </a:lnTo>
                  <a:lnTo>
                    <a:pt x="114" y="1402"/>
                  </a:lnTo>
                  <a:lnTo>
                    <a:pt x="122" y="1422"/>
                  </a:lnTo>
                  <a:lnTo>
                    <a:pt x="126" y="1432"/>
                  </a:lnTo>
                  <a:lnTo>
                    <a:pt x="132" y="1438"/>
                  </a:lnTo>
                  <a:lnTo>
                    <a:pt x="132" y="1438"/>
                  </a:lnTo>
                  <a:lnTo>
                    <a:pt x="142" y="1440"/>
                  </a:lnTo>
                  <a:lnTo>
                    <a:pt x="156" y="1442"/>
                  </a:lnTo>
                  <a:lnTo>
                    <a:pt x="174" y="1442"/>
                  </a:lnTo>
                  <a:lnTo>
                    <a:pt x="190" y="1438"/>
                  </a:lnTo>
                  <a:lnTo>
                    <a:pt x="204" y="1434"/>
                  </a:lnTo>
                  <a:lnTo>
                    <a:pt x="216" y="1428"/>
                  </a:lnTo>
                  <a:lnTo>
                    <a:pt x="220" y="1422"/>
                  </a:lnTo>
                  <a:lnTo>
                    <a:pt x="224" y="1418"/>
                  </a:lnTo>
                  <a:lnTo>
                    <a:pt x="224" y="1414"/>
                  </a:lnTo>
                  <a:lnTo>
                    <a:pt x="224" y="1408"/>
                  </a:lnTo>
                  <a:lnTo>
                    <a:pt x="224" y="1408"/>
                  </a:lnTo>
                  <a:lnTo>
                    <a:pt x="176" y="1402"/>
                  </a:lnTo>
                  <a:lnTo>
                    <a:pt x="176" y="1402"/>
                  </a:lnTo>
                  <a:lnTo>
                    <a:pt x="168" y="1394"/>
                  </a:lnTo>
                  <a:lnTo>
                    <a:pt x="162" y="1384"/>
                  </a:lnTo>
                  <a:lnTo>
                    <a:pt x="158" y="1374"/>
                  </a:lnTo>
                  <a:lnTo>
                    <a:pt x="154" y="1364"/>
                  </a:lnTo>
                  <a:lnTo>
                    <a:pt x="148" y="1342"/>
                  </a:lnTo>
                  <a:lnTo>
                    <a:pt x="148" y="1320"/>
                  </a:lnTo>
                  <a:lnTo>
                    <a:pt x="148" y="1300"/>
                  </a:lnTo>
                  <a:lnTo>
                    <a:pt x="150" y="1284"/>
                  </a:lnTo>
                  <a:lnTo>
                    <a:pt x="152" y="1268"/>
                  </a:lnTo>
                  <a:lnTo>
                    <a:pt x="152" y="1268"/>
                  </a:lnTo>
                  <a:lnTo>
                    <a:pt x="160" y="1248"/>
                  </a:lnTo>
                  <a:lnTo>
                    <a:pt x="168" y="1220"/>
                  </a:lnTo>
                  <a:lnTo>
                    <a:pt x="186" y="1156"/>
                  </a:lnTo>
                  <a:lnTo>
                    <a:pt x="186" y="1156"/>
                  </a:lnTo>
                  <a:lnTo>
                    <a:pt x="224" y="1160"/>
                  </a:lnTo>
                  <a:lnTo>
                    <a:pt x="262" y="1164"/>
                  </a:lnTo>
                  <a:lnTo>
                    <a:pt x="300" y="1168"/>
                  </a:lnTo>
                  <a:lnTo>
                    <a:pt x="338" y="1168"/>
                  </a:lnTo>
                  <a:lnTo>
                    <a:pt x="338" y="1168"/>
                  </a:lnTo>
                  <a:lnTo>
                    <a:pt x="350" y="1154"/>
                  </a:lnTo>
                  <a:lnTo>
                    <a:pt x="358" y="1136"/>
                  </a:lnTo>
                  <a:lnTo>
                    <a:pt x="362" y="1118"/>
                  </a:lnTo>
                  <a:lnTo>
                    <a:pt x="366" y="1100"/>
                  </a:lnTo>
                  <a:lnTo>
                    <a:pt x="370" y="1058"/>
                  </a:lnTo>
                  <a:lnTo>
                    <a:pt x="374" y="1038"/>
                  </a:lnTo>
                  <a:lnTo>
                    <a:pt x="380" y="1016"/>
                  </a:lnTo>
                  <a:lnTo>
                    <a:pt x="380" y="1016"/>
                  </a:lnTo>
                  <a:lnTo>
                    <a:pt x="400" y="1104"/>
                  </a:lnTo>
                  <a:lnTo>
                    <a:pt x="410" y="1146"/>
                  </a:lnTo>
                  <a:lnTo>
                    <a:pt x="416" y="1162"/>
                  </a:lnTo>
                  <a:lnTo>
                    <a:pt x="422" y="1172"/>
                  </a:lnTo>
                  <a:lnTo>
                    <a:pt x="422" y="1172"/>
                  </a:lnTo>
                  <a:lnTo>
                    <a:pt x="444" y="1210"/>
                  </a:lnTo>
                  <a:lnTo>
                    <a:pt x="460" y="1246"/>
                  </a:lnTo>
                  <a:lnTo>
                    <a:pt x="474" y="1276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84" y="1302"/>
                  </a:lnTo>
                  <a:lnTo>
                    <a:pt x="472" y="1316"/>
                  </a:lnTo>
                  <a:lnTo>
                    <a:pt x="468" y="1328"/>
                  </a:lnTo>
                  <a:lnTo>
                    <a:pt x="468" y="1338"/>
                  </a:lnTo>
                  <a:lnTo>
                    <a:pt x="470" y="1350"/>
                  </a:lnTo>
                  <a:lnTo>
                    <a:pt x="476" y="1360"/>
                  </a:lnTo>
                  <a:lnTo>
                    <a:pt x="484" y="1370"/>
                  </a:lnTo>
                  <a:lnTo>
                    <a:pt x="498" y="1392"/>
                  </a:lnTo>
                  <a:lnTo>
                    <a:pt x="498" y="1392"/>
                  </a:lnTo>
                  <a:lnTo>
                    <a:pt x="504" y="1406"/>
                  </a:lnTo>
                  <a:lnTo>
                    <a:pt x="510" y="1420"/>
                  </a:lnTo>
                  <a:lnTo>
                    <a:pt x="514" y="1430"/>
                  </a:lnTo>
                  <a:lnTo>
                    <a:pt x="518" y="1436"/>
                  </a:lnTo>
                  <a:lnTo>
                    <a:pt x="522" y="1440"/>
                  </a:lnTo>
                  <a:lnTo>
                    <a:pt x="522" y="1440"/>
                  </a:lnTo>
                  <a:lnTo>
                    <a:pt x="524" y="1432"/>
                  </a:lnTo>
                  <a:lnTo>
                    <a:pt x="522" y="1422"/>
                  </a:lnTo>
                  <a:lnTo>
                    <a:pt x="516" y="1404"/>
                  </a:lnTo>
                  <a:lnTo>
                    <a:pt x="514" y="1394"/>
                  </a:lnTo>
                  <a:lnTo>
                    <a:pt x="512" y="1386"/>
                  </a:lnTo>
                  <a:lnTo>
                    <a:pt x="514" y="1378"/>
                  </a:lnTo>
                  <a:lnTo>
                    <a:pt x="520" y="1372"/>
                  </a:lnTo>
                  <a:lnTo>
                    <a:pt x="520" y="1372"/>
                  </a:lnTo>
                  <a:lnTo>
                    <a:pt x="528" y="1374"/>
                  </a:lnTo>
                  <a:lnTo>
                    <a:pt x="538" y="1380"/>
                  </a:lnTo>
                  <a:lnTo>
                    <a:pt x="544" y="1388"/>
                  </a:lnTo>
                  <a:lnTo>
                    <a:pt x="552" y="1398"/>
                  </a:lnTo>
                  <a:lnTo>
                    <a:pt x="558" y="1406"/>
                  </a:lnTo>
                  <a:lnTo>
                    <a:pt x="564" y="1416"/>
                  </a:lnTo>
                  <a:lnTo>
                    <a:pt x="574" y="1422"/>
                  </a:lnTo>
                  <a:lnTo>
                    <a:pt x="582" y="1426"/>
                  </a:lnTo>
                  <a:lnTo>
                    <a:pt x="582" y="1426"/>
                  </a:lnTo>
                  <a:lnTo>
                    <a:pt x="594" y="1426"/>
                  </a:lnTo>
                  <a:lnTo>
                    <a:pt x="608" y="1422"/>
                  </a:lnTo>
                  <a:lnTo>
                    <a:pt x="622" y="1416"/>
                  </a:lnTo>
                  <a:lnTo>
                    <a:pt x="636" y="1408"/>
                  </a:lnTo>
                  <a:lnTo>
                    <a:pt x="648" y="1398"/>
                  </a:lnTo>
                  <a:lnTo>
                    <a:pt x="654" y="1388"/>
                  </a:lnTo>
                  <a:lnTo>
                    <a:pt x="656" y="1384"/>
                  </a:lnTo>
                  <a:lnTo>
                    <a:pt x="656" y="1378"/>
                  </a:lnTo>
                  <a:lnTo>
                    <a:pt x="654" y="1374"/>
                  </a:lnTo>
                  <a:lnTo>
                    <a:pt x="650" y="1368"/>
                  </a:lnTo>
                  <a:lnTo>
                    <a:pt x="650" y="1368"/>
                  </a:lnTo>
                  <a:close/>
                  <a:moveTo>
                    <a:pt x="406" y="824"/>
                  </a:moveTo>
                  <a:lnTo>
                    <a:pt x="406" y="824"/>
                  </a:lnTo>
                  <a:lnTo>
                    <a:pt x="406" y="82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0" y="814"/>
                  </a:lnTo>
                  <a:lnTo>
                    <a:pt x="412" y="826"/>
                  </a:lnTo>
                  <a:lnTo>
                    <a:pt x="412" y="826"/>
                  </a:lnTo>
                  <a:lnTo>
                    <a:pt x="406" y="824"/>
                  </a:lnTo>
                  <a:lnTo>
                    <a:pt x="406" y="82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89" name="Freeform 151"/>
            <p:cNvSpPr>
              <a:spLocks/>
            </p:cNvSpPr>
            <p:nvPr/>
          </p:nvSpPr>
          <p:spPr bwMode="auto">
            <a:xfrm>
              <a:off x="4700588" y="4273550"/>
              <a:ext cx="304800" cy="317500"/>
            </a:xfrm>
            <a:custGeom>
              <a:avLst/>
              <a:gdLst>
                <a:gd name="T0" fmla="*/ 102 w 192"/>
                <a:gd name="T1" fmla="*/ 58 h 200"/>
                <a:gd name="T2" fmla="*/ 78 w 192"/>
                <a:gd name="T3" fmla="*/ 34 h 200"/>
                <a:gd name="T4" fmla="*/ 74 w 192"/>
                <a:gd name="T5" fmla="*/ 32 h 200"/>
                <a:gd name="T6" fmla="*/ 58 w 192"/>
                <a:gd name="T7" fmla="*/ 28 h 200"/>
                <a:gd name="T8" fmla="*/ 22 w 192"/>
                <a:gd name="T9" fmla="*/ 2 h 200"/>
                <a:gd name="T10" fmla="*/ 12 w 192"/>
                <a:gd name="T11" fmla="*/ 0 h 200"/>
                <a:gd name="T12" fmla="*/ 8 w 192"/>
                <a:gd name="T13" fmla="*/ 0 h 200"/>
                <a:gd name="T14" fmla="*/ 0 w 192"/>
                <a:gd name="T15" fmla="*/ 16 h 200"/>
                <a:gd name="T16" fmla="*/ 6 w 192"/>
                <a:gd name="T17" fmla="*/ 28 h 200"/>
                <a:gd name="T18" fmla="*/ 40 w 192"/>
                <a:gd name="T19" fmla="*/ 56 h 200"/>
                <a:gd name="T20" fmla="*/ 44 w 192"/>
                <a:gd name="T21" fmla="*/ 64 h 200"/>
                <a:gd name="T22" fmla="*/ 52 w 192"/>
                <a:gd name="T23" fmla="*/ 76 h 200"/>
                <a:gd name="T24" fmla="*/ 56 w 192"/>
                <a:gd name="T25" fmla="*/ 76 h 200"/>
                <a:gd name="T26" fmla="*/ 74 w 192"/>
                <a:gd name="T27" fmla="*/ 68 h 200"/>
                <a:gd name="T28" fmla="*/ 86 w 192"/>
                <a:gd name="T29" fmla="*/ 64 h 200"/>
                <a:gd name="T30" fmla="*/ 94 w 192"/>
                <a:gd name="T31" fmla="*/ 68 h 200"/>
                <a:gd name="T32" fmla="*/ 102 w 192"/>
                <a:gd name="T33" fmla="*/ 76 h 200"/>
                <a:gd name="T34" fmla="*/ 132 w 192"/>
                <a:gd name="T35" fmla="*/ 108 h 200"/>
                <a:gd name="T36" fmla="*/ 158 w 192"/>
                <a:gd name="T37" fmla="*/ 138 h 200"/>
                <a:gd name="T38" fmla="*/ 164 w 192"/>
                <a:gd name="T39" fmla="*/ 152 h 200"/>
                <a:gd name="T40" fmla="*/ 174 w 192"/>
                <a:gd name="T41" fmla="*/ 186 h 200"/>
                <a:gd name="T42" fmla="*/ 178 w 192"/>
                <a:gd name="T43" fmla="*/ 198 h 200"/>
                <a:gd name="T44" fmla="*/ 180 w 192"/>
                <a:gd name="T45" fmla="*/ 198 h 200"/>
                <a:gd name="T46" fmla="*/ 168 w 192"/>
                <a:gd name="T47" fmla="*/ 160 h 200"/>
                <a:gd name="T48" fmla="*/ 150 w 192"/>
                <a:gd name="T49" fmla="*/ 106 h 200"/>
                <a:gd name="T50" fmla="*/ 150 w 192"/>
                <a:gd name="T51" fmla="*/ 98 h 200"/>
                <a:gd name="T52" fmla="*/ 156 w 192"/>
                <a:gd name="T53" fmla="*/ 84 h 200"/>
                <a:gd name="T54" fmla="*/ 166 w 192"/>
                <a:gd name="T55" fmla="*/ 76 h 200"/>
                <a:gd name="T56" fmla="*/ 190 w 192"/>
                <a:gd name="T57" fmla="*/ 70 h 200"/>
                <a:gd name="T58" fmla="*/ 192 w 192"/>
                <a:gd name="T59" fmla="*/ 70 h 200"/>
                <a:gd name="T60" fmla="*/ 182 w 192"/>
                <a:gd name="T61" fmla="*/ 64 h 200"/>
                <a:gd name="T62" fmla="*/ 156 w 192"/>
                <a:gd name="T63" fmla="*/ 52 h 200"/>
                <a:gd name="T64" fmla="*/ 120 w 192"/>
                <a:gd name="T65" fmla="*/ 36 h 200"/>
                <a:gd name="T66" fmla="*/ 112 w 192"/>
                <a:gd name="T67" fmla="*/ 32 h 200"/>
                <a:gd name="T68" fmla="*/ 112 w 192"/>
                <a:gd name="T69" fmla="*/ 36 h 200"/>
                <a:gd name="T70" fmla="*/ 118 w 192"/>
                <a:gd name="T71" fmla="*/ 56 h 200"/>
                <a:gd name="T72" fmla="*/ 130 w 192"/>
                <a:gd name="T73" fmla="*/ 76 h 200"/>
                <a:gd name="T74" fmla="*/ 136 w 192"/>
                <a:gd name="T75" fmla="*/ 90 h 200"/>
                <a:gd name="T76" fmla="*/ 132 w 192"/>
                <a:gd name="T77" fmla="*/ 98 h 200"/>
                <a:gd name="T78" fmla="*/ 128 w 192"/>
                <a:gd name="T79" fmla="*/ 94 h 200"/>
                <a:gd name="T80" fmla="*/ 102 w 192"/>
                <a:gd name="T81" fmla="*/ 5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2" h="200">
                  <a:moveTo>
                    <a:pt x="102" y="58"/>
                  </a:moveTo>
                  <a:lnTo>
                    <a:pt x="102" y="58"/>
                  </a:lnTo>
                  <a:lnTo>
                    <a:pt x="84" y="38"/>
                  </a:lnTo>
                  <a:lnTo>
                    <a:pt x="78" y="34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66" y="32"/>
                  </a:lnTo>
                  <a:lnTo>
                    <a:pt x="58" y="28"/>
                  </a:lnTo>
                  <a:lnTo>
                    <a:pt x="40" y="14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2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20" y="40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4" y="64"/>
                  </a:lnTo>
                  <a:lnTo>
                    <a:pt x="48" y="70"/>
                  </a:lnTo>
                  <a:lnTo>
                    <a:pt x="52" y="76"/>
                  </a:lnTo>
                  <a:lnTo>
                    <a:pt x="54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74" y="68"/>
                  </a:lnTo>
                  <a:lnTo>
                    <a:pt x="80" y="66"/>
                  </a:lnTo>
                  <a:lnTo>
                    <a:pt x="86" y="64"/>
                  </a:lnTo>
                  <a:lnTo>
                    <a:pt x="90" y="66"/>
                  </a:lnTo>
                  <a:lnTo>
                    <a:pt x="94" y="68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16" y="92"/>
                  </a:lnTo>
                  <a:lnTo>
                    <a:pt x="132" y="108"/>
                  </a:lnTo>
                  <a:lnTo>
                    <a:pt x="146" y="122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4" y="152"/>
                  </a:lnTo>
                  <a:lnTo>
                    <a:pt x="170" y="170"/>
                  </a:lnTo>
                  <a:lnTo>
                    <a:pt x="174" y="18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78" y="192"/>
                  </a:lnTo>
                  <a:lnTo>
                    <a:pt x="168" y="160"/>
                  </a:lnTo>
                  <a:lnTo>
                    <a:pt x="154" y="122"/>
                  </a:lnTo>
                  <a:lnTo>
                    <a:pt x="150" y="106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2" y="90"/>
                  </a:lnTo>
                  <a:lnTo>
                    <a:pt x="156" y="84"/>
                  </a:lnTo>
                  <a:lnTo>
                    <a:pt x="160" y="80"/>
                  </a:lnTo>
                  <a:lnTo>
                    <a:pt x="166" y="76"/>
                  </a:lnTo>
                  <a:lnTo>
                    <a:pt x="180" y="72"/>
                  </a:lnTo>
                  <a:lnTo>
                    <a:pt x="190" y="70"/>
                  </a:lnTo>
                  <a:lnTo>
                    <a:pt x="190" y="70"/>
                  </a:lnTo>
                  <a:lnTo>
                    <a:pt x="192" y="70"/>
                  </a:lnTo>
                  <a:lnTo>
                    <a:pt x="192" y="68"/>
                  </a:lnTo>
                  <a:lnTo>
                    <a:pt x="182" y="64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34" y="44"/>
                  </a:lnTo>
                  <a:lnTo>
                    <a:pt x="120" y="36"/>
                  </a:lnTo>
                  <a:lnTo>
                    <a:pt x="114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46"/>
                  </a:lnTo>
                  <a:lnTo>
                    <a:pt x="118" y="5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4" y="84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8" y="94"/>
                  </a:lnTo>
                  <a:lnTo>
                    <a:pt x="122" y="84"/>
                  </a:lnTo>
                  <a:lnTo>
                    <a:pt x="102" y="58"/>
                  </a:lnTo>
                  <a:lnTo>
                    <a:pt x="102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grpSp>
        <p:nvGrpSpPr>
          <p:cNvPr id="891" name="Group 890"/>
          <p:cNvGrpSpPr/>
          <p:nvPr/>
        </p:nvGrpSpPr>
        <p:grpSpPr>
          <a:xfrm>
            <a:off x="7596453" y="4706556"/>
            <a:ext cx="479694" cy="511055"/>
            <a:chOff x="6389688" y="4340225"/>
            <a:chExt cx="1311275" cy="1397000"/>
          </a:xfrm>
        </p:grpSpPr>
        <p:sp>
          <p:nvSpPr>
            <p:cNvPr id="892" name="Freeform 85"/>
            <p:cNvSpPr>
              <a:spLocks/>
            </p:cNvSpPr>
            <p:nvPr/>
          </p:nvSpPr>
          <p:spPr bwMode="auto">
            <a:xfrm>
              <a:off x="7153276" y="4440238"/>
              <a:ext cx="41275" cy="22225"/>
            </a:xfrm>
            <a:custGeom>
              <a:avLst/>
              <a:gdLst>
                <a:gd name="T0" fmla="*/ 26 w 26"/>
                <a:gd name="T1" fmla="*/ 9 h 14"/>
                <a:gd name="T2" fmla="*/ 20 w 26"/>
                <a:gd name="T3" fmla="*/ 0 h 14"/>
                <a:gd name="T4" fmla="*/ 0 w 26"/>
                <a:gd name="T5" fmla="*/ 14 h 14"/>
                <a:gd name="T6" fmla="*/ 0 w 26"/>
                <a:gd name="T7" fmla="*/ 14 h 14"/>
                <a:gd name="T8" fmla="*/ 10 w 26"/>
                <a:gd name="T9" fmla="*/ 14 h 14"/>
                <a:gd name="T10" fmla="*/ 18 w 26"/>
                <a:gd name="T11" fmla="*/ 11 h 14"/>
                <a:gd name="T12" fmla="*/ 26 w 26"/>
                <a:gd name="T13" fmla="*/ 9 h 14"/>
                <a:gd name="T14" fmla="*/ 26 w 26"/>
                <a:gd name="T15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4">
                  <a:moveTo>
                    <a:pt x="26" y="9"/>
                  </a:moveTo>
                  <a:lnTo>
                    <a:pt x="20" y="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0" y="14"/>
                  </a:lnTo>
                  <a:lnTo>
                    <a:pt x="18" y="11"/>
                  </a:lnTo>
                  <a:lnTo>
                    <a:pt x="26" y="9"/>
                  </a:lnTo>
                  <a:lnTo>
                    <a:pt x="26" y="9"/>
                  </a:lnTo>
                  <a:close/>
                </a:path>
              </a:pathLst>
            </a:cu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3" name="Freeform 86"/>
            <p:cNvSpPr>
              <a:spLocks noEditPoints="1"/>
            </p:cNvSpPr>
            <p:nvPr/>
          </p:nvSpPr>
          <p:spPr bwMode="auto">
            <a:xfrm>
              <a:off x="6973888" y="4351338"/>
              <a:ext cx="195263" cy="120650"/>
            </a:xfrm>
            <a:custGeom>
              <a:avLst/>
              <a:gdLst>
                <a:gd name="T0" fmla="*/ 123 w 123"/>
                <a:gd name="T1" fmla="*/ 34 h 76"/>
                <a:gd name="T2" fmla="*/ 123 w 123"/>
                <a:gd name="T3" fmla="*/ 34 h 76"/>
                <a:gd name="T4" fmla="*/ 119 w 123"/>
                <a:gd name="T5" fmla="*/ 27 h 76"/>
                <a:gd name="T6" fmla="*/ 113 w 123"/>
                <a:gd name="T7" fmla="*/ 19 h 76"/>
                <a:gd name="T8" fmla="*/ 106 w 123"/>
                <a:gd name="T9" fmla="*/ 11 h 76"/>
                <a:gd name="T10" fmla="*/ 106 w 123"/>
                <a:gd name="T11" fmla="*/ 19 h 76"/>
                <a:gd name="T12" fmla="*/ 106 w 123"/>
                <a:gd name="T13" fmla="*/ 19 h 76"/>
                <a:gd name="T14" fmla="*/ 100 w 123"/>
                <a:gd name="T15" fmla="*/ 11 h 76"/>
                <a:gd name="T16" fmla="*/ 94 w 123"/>
                <a:gd name="T17" fmla="*/ 5 h 76"/>
                <a:gd name="T18" fmla="*/ 88 w 123"/>
                <a:gd name="T19" fmla="*/ 2 h 76"/>
                <a:gd name="T20" fmla="*/ 80 w 123"/>
                <a:gd name="T21" fmla="*/ 0 h 76"/>
                <a:gd name="T22" fmla="*/ 73 w 123"/>
                <a:gd name="T23" fmla="*/ 0 h 76"/>
                <a:gd name="T24" fmla="*/ 66 w 123"/>
                <a:gd name="T25" fmla="*/ 0 h 76"/>
                <a:gd name="T26" fmla="*/ 51 w 123"/>
                <a:gd name="T27" fmla="*/ 2 h 76"/>
                <a:gd name="T28" fmla="*/ 51 w 123"/>
                <a:gd name="T29" fmla="*/ 2 h 76"/>
                <a:gd name="T30" fmla="*/ 45 w 123"/>
                <a:gd name="T31" fmla="*/ 5 h 76"/>
                <a:gd name="T32" fmla="*/ 39 w 123"/>
                <a:gd name="T33" fmla="*/ 10 h 76"/>
                <a:gd name="T34" fmla="*/ 34 w 123"/>
                <a:gd name="T35" fmla="*/ 16 h 76"/>
                <a:gd name="T36" fmla="*/ 29 w 123"/>
                <a:gd name="T37" fmla="*/ 24 h 76"/>
                <a:gd name="T38" fmla="*/ 25 w 123"/>
                <a:gd name="T39" fmla="*/ 34 h 76"/>
                <a:gd name="T40" fmla="*/ 22 w 123"/>
                <a:gd name="T41" fmla="*/ 40 h 76"/>
                <a:gd name="T42" fmla="*/ 22 w 123"/>
                <a:gd name="T43" fmla="*/ 40 h 76"/>
                <a:gd name="T44" fmla="*/ 23 w 123"/>
                <a:gd name="T45" fmla="*/ 30 h 76"/>
                <a:gd name="T46" fmla="*/ 26 w 123"/>
                <a:gd name="T47" fmla="*/ 20 h 76"/>
                <a:gd name="T48" fmla="*/ 29 w 123"/>
                <a:gd name="T49" fmla="*/ 11 h 76"/>
                <a:gd name="T50" fmla="*/ 29 w 123"/>
                <a:gd name="T51" fmla="*/ 11 h 76"/>
                <a:gd name="T52" fmla="*/ 25 w 123"/>
                <a:gd name="T53" fmla="*/ 14 h 76"/>
                <a:gd name="T54" fmla="*/ 20 w 123"/>
                <a:gd name="T55" fmla="*/ 19 h 76"/>
                <a:gd name="T56" fmla="*/ 17 w 123"/>
                <a:gd name="T57" fmla="*/ 25 h 76"/>
                <a:gd name="T58" fmla="*/ 16 w 123"/>
                <a:gd name="T59" fmla="*/ 30 h 76"/>
                <a:gd name="T60" fmla="*/ 11 w 123"/>
                <a:gd name="T61" fmla="*/ 42 h 76"/>
                <a:gd name="T62" fmla="*/ 9 w 123"/>
                <a:gd name="T63" fmla="*/ 53 h 76"/>
                <a:gd name="T64" fmla="*/ 9 w 123"/>
                <a:gd name="T65" fmla="*/ 53 h 76"/>
                <a:gd name="T66" fmla="*/ 6 w 123"/>
                <a:gd name="T67" fmla="*/ 62 h 76"/>
                <a:gd name="T68" fmla="*/ 3 w 123"/>
                <a:gd name="T69" fmla="*/ 67 h 76"/>
                <a:gd name="T70" fmla="*/ 0 w 123"/>
                <a:gd name="T71" fmla="*/ 71 h 76"/>
                <a:gd name="T72" fmla="*/ 16 w 123"/>
                <a:gd name="T73" fmla="*/ 71 h 76"/>
                <a:gd name="T74" fmla="*/ 16 w 123"/>
                <a:gd name="T75" fmla="*/ 74 h 76"/>
                <a:gd name="T76" fmla="*/ 69 w 123"/>
                <a:gd name="T77" fmla="*/ 76 h 76"/>
                <a:gd name="T78" fmla="*/ 123 w 123"/>
                <a:gd name="T79" fmla="*/ 34 h 76"/>
                <a:gd name="T80" fmla="*/ 25 w 123"/>
                <a:gd name="T81" fmla="*/ 67 h 76"/>
                <a:gd name="T82" fmla="*/ 25 w 123"/>
                <a:gd name="T83" fmla="*/ 67 h 76"/>
                <a:gd name="T84" fmla="*/ 25 w 123"/>
                <a:gd name="T85" fmla="*/ 53 h 76"/>
                <a:gd name="T86" fmla="*/ 45 w 123"/>
                <a:gd name="T87" fmla="*/ 53 h 76"/>
                <a:gd name="T88" fmla="*/ 45 w 123"/>
                <a:gd name="T89" fmla="*/ 53 h 76"/>
                <a:gd name="T90" fmla="*/ 36 w 123"/>
                <a:gd name="T91" fmla="*/ 54 h 76"/>
                <a:gd name="T92" fmla="*/ 29 w 123"/>
                <a:gd name="T93" fmla="*/ 57 h 76"/>
                <a:gd name="T94" fmla="*/ 26 w 123"/>
                <a:gd name="T95" fmla="*/ 62 h 76"/>
                <a:gd name="T96" fmla="*/ 25 w 123"/>
                <a:gd name="T97" fmla="*/ 67 h 76"/>
                <a:gd name="T98" fmla="*/ 25 w 123"/>
                <a:gd name="T99" fmla="*/ 67 h 76"/>
                <a:gd name="T100" fmla="*/ 68 w 123"/>
                <a:gd name="T101" fmla="*/ 67 h 76"/>
                <a:gd name="T102" fmla="*/ 68 w 123"/>
                <a:gd name="T103" fmla="*/ 53 h 76"/>
                <a:gd name="T104" fmla="*/ 88 w 123"/>
                <a:gd name="T105" fmla="*/ 53 h 76"/>
                <a:gd name="T106" fmla="*/ 88 w 123"/>
                <a:gd name="T107" fmla="*/ 53 h 76"/>
                <a:gd name="T108" fmla="*/ 79 w 123"/>
                <a:gd name="T109" fmla="*/ 54 h 76"/>
                <a:gd name="T110" fmla="*/ 74 w 123"/>
                <a:gd name="T111" fmla="*/ 57 h 76"/>
                <a:gd name="T112" fmla="*/ 71 w 123"/>
                <a:gd name="T113" fmla="*/ 62 h 76"/>
                <a:gd name="T114" fmla="*/ 69 w 123"/>
                <a:gd name="T115" fmla="*/ 67 h 76"/>
                <a:gd name="T116" fmla="*/ 68 w 123"/>
                <a:gd name="T117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3" h="76">
                  <a:moveTo>
                    <a:pt x="123" y="34"/>
                  </a:moveTo>
                  <a:lnTo>
                    <a:pt x="123" y="34"/>
                  </a:lnTo>
                  <a:lnTo>
                    <a:pt x="119" y="27"/>
                  </a:lnTo>
                  <a:lnTo>
                    <a:pt x="113" y="19"/>
                  </a:lnTo>
                  <a:lnTo>
                    <a:pt x="106" y="11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0" y="11"/>
                  </a:lnTo>
                  <a:lnTo>
                    <a:pt x="94" y="5"/>
                  </a:lnTo>
                  <a:lnTo>
                    <a:pt x="88" y="2"/>
                  </a:lnTo>
                  <a:lnTo>
                    <a:pt x="80" y="0"/>
                  </a:lnTo>
                  <a:lnTo>
                    <a:pt x="73" y="0"/>
                  </a:lnTo>
                  <a:lnTo>
                    <a:pt x="66" y="0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5" y="5"/>
                  </a:lnTo>
                  <a:lnTo>
                    <a:pt x="39" y="10"/>
                  </a:lnTo>
                  <a:lnTo>
                    <a:pt x="34" y="16"/>
                  </a:lnTo>
                  <a:lnTo>
                    <a:pt x="29" y="24"/>
                  </a:lnTo>
                  <a:lnTo>
                    <a:pt x="25" y="34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30"/>
                  </a:lnTo>
                  <a:lnTo>
                    <a:pt x="26" y="2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5" y="14"/>
                  </a:lnTo>
                  <a:lnTo>
                    <a:pt x="20" y="19"/>
                  </a:lnTo>
                  <a:lnTo>
                    <a:pt x="17" y="25"/>
                  </a:lnTo>
                  <a:lnTo>
                    <a:pt x="16" y="30"/>
                  </a:lnTo>
                  <a:lnTo>
                    <a:pt x="11" y="42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6" y="62"/>
                  </a:lnTo>
                  <a:lnTo>
                    <a:pt x="3" y="67"/>
                  </a:lnTo>
                  <a:lnTo>
                    <a:pt x="0" y="71"/>
                  </a:lnTo>
                  <a:lnTo>
                    <a:pt x="16" y="71"/>
                  </a:lnTo>
                  <a:lnTo>
                    <a:pt x="16" y="74"/>
                  </a:lnTo>
                  <a:lnTo>
                    <a:pt x="69" y="76"/>
                  </a:lnTo>
                  <a:lnTo>
                    <a:pt x="123" y="34"/>
                  </a:lnTo>
                  <a:close/>
                  <a:moveTo>
                    <a:pt x="25" y="67"/>
                  </a:moveTo>
                  <a:lnTo>
                    <a:pt x="25" y="67"/>
                  </a:lnTo>
                  <a:lnTo>
                    <a:pt x="25" y="53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36" y="54"/>
                  </a:lnTo>
                  <a:lnTo>
                    <a:pt x="29" y="57"/>
                  </a:lnTo>
                  <a:lnTo>
                    <a:pt x="26" y="62"/>
                  </a:lnTo>
                  <a:lnTo>
                    <a:pt x="25" y="67"/>
                  </a:lnTo>
                  <a:lnTo>
                    <a:pt x="25" y="67"/>
                  </a:lnTo>
                  <a:close/>
                  <a:moveTo>
                    <a:pt x="68" y="67"/>
                  </a:moveTo>
                  <a:lnTo>
                    <a:pt x="68" y="53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79" y="54"/>
                  </a:lnTo>
                  <a:lnTo>
                    <a:pt x="74" y="57"/>
                  </a:lnTo>
                  <a:lnTo>
                    <a:pt x="71" y="62"/>
                  </a:lnTo>
                  <a:lnTo>
                    <a:pt x="69" y="67"/>
                  </a:lnTo>
                  <a:lnTo>
                    <a:pt x="68" y="67"/>
                  </a:lnTo>
                  <a:close/>
                </a:path>
              </a:pathLst>
            </a:cu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4" name="Freeform 87"/>
            <p:cNvSpPr>
              <a:spLocks/>
            </p:cNvSpPr>
            <p:nvPr/>
          </p:nvSpPr>
          <p:spPr bwMode="auto">
            <a:xfrm>
              <a:off x="7081838" y="4435475"/>
              <a:ext cx="31750" cy="22225"/>
            </a:xfrm>
            <a:custGeom>
              <a:avLst/>
              <a:gdLst>
                <a:gd name="T0" fmla="*/ 20 w 20"/>
                <a:gd name="T1" fmla="*/ 0 h 14"/>
                <a:gd name="T2" fmla="*/ 0 w 20"/>
                <a:gd name="T3" fmla="*/ 0 h 14"/>
                <a:gd name="T4" fmla="*/ 0 w 20"/>
                <a:gd name="T5" fmla="*/ 14 h 14"/>
                <a:gd name="T6" fmla="*/ 1 w 20"/>
                <a:gd name="T7" fmla="*/ 14 h 14"/>
                <a:gd name="T8" fmla="*/ 1 w 20"/>
                <a:gd name="T9" fmla="*/ 14 h 14"/>
                <a:gd name="T10" fmla="*/ 3 w 20"/>
                <a:gd name="T11" fmla="*/ 9 h 14"/>
                <a:gd name="T12" fmla="*/ 6 w 20"/>
                <a:gd name="T13" fmla="*/ 4 h 14"/>
                <a:gd name="T14" fmla="*/ 11 w 20"/>
                <a:gd name="T15" fmla="*/ 1 h 14"/>
                <a:gd name="T16" fmla="*/ 20 w 20"/>
                <a:gd name="T17" fmla="*/ 0 h 14"/>
                <a:gd name="T18" fmla="*/ 20 w 20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4">
                  <a:moveTo>
                    <a:pt x="20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3" y="9"/>
                  </a:lnTo>
                  <a:lnTo>
                    <a:pt x="6" y="4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5" name="Freeform 88"/>
            <p:cNvSpPr>
              <a:spLocks/>
            </p:cNvSpPr>
            <p:nvPr/>
          </p:nvSpPr>
          <p:spPr bwMode="auto">
            <a:xfrm>
              <a:off x="7013576" y="4435475"/>
              <a:ext cx="31750" cy="22225"/>
            </a:xfrm>
            <a:custGeom>
              <a:avLst/>
              <a:gdLst>
                <a:gd name="T0" fmla="*/ 0 w 20"/>
                <a:gd name="T1" fmla="*/ 14 h 14"/>
                <a:gd name="T2" fmla="*/ 0 w 20"/>
                <a:gd name="T3" fmla="*/ 14 h 14"/>
                <a:gd name="T4" fmla="*/ 0 w 20"/>
                <a:gd name="T5" fmla="*/ 14 h 14"/>
                <a:gd name="T6" fmla="*/ 1 w 20"/>
                <a:gd name="T7" fmla="*/ 9 h 14"/>
                <a:gd name="T8" fmla="*/ 4 w 20"/>
                <a:gd name="T9" fmla="*/ 4 h 14"/>
                <a:gd name="T10" fmla="*/ 11 w 20"/>
                <a:gd name="T11" fmla="*/ 1 h 14"/>
                <a:gd name="T12" fmla="*/ 20 w 20"/>
                <a:gd name="T13" fmla="*/ 0 h 14"/>
                <a:gd name="T14" fmla="*/ 0 w 20"/>
                <a:gd name="T15" fmla="*/ 0 h 14"/>
                <a:gd name="T16" fmla="*/ 0 w 20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4">
                  <a:moveTo>
                    <a:pt x="0" y="14"/>
                  </a:moveTo>
                  <a:lnTo>
                    <a:pt x="0" y="14"/>
                  </a:lnTo>
                  <a:lnTo>
                    <a:pt x="0" y="14"/>
                  </a:lnTo>
                  <a:lnTo>
                    <a:pt x="1" y="9"/>
                  </a:lnTo>
                  <a:lnTo>
                    <a:pt x="4" y="4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896" name="Freeform 89"/>
            <p:cNvSpPr>
              <a:spLocks noEditPoints="1"/>
            </p:cNvSpPr>
            <p:nvPr/>
          </p:nvSpPr>
          <p:spPr bwMode="auto">
            <a:xfrm>
              <a:off x="6389688" y="4340225"/>
              <a:ext cx="1311275" cy="1397000"/>
            </a:xfrm>
            <a:custGeom>
              <a:avLst/>
              <a:gdLst>
                <a:gd name="T0" fmla="*/ 743 w 826"/>
                <a:gd name="T1" fmla="*/ 236 h 880"/>
                <a:gd name="T2" fmla="*/ 561 w 826"/>
                <a:gd name="T3" fmla="*/ 88 h 880"/>
                <a:gd name="T4" fmla="*/ 508 w 826"/>
                <a:gd name="T5" fmla="*/ 78 h 880"/>
                <a:gd name="T6" fmla="*/ 507 w 826"/>
                <a:gd name="T7" fmla="*/ 66 h 880"/>
                <a:gd name="T8" fmla="*/ 498 w 826"/>
                <a:gd name="T9" fmla="*/ 35 h 880"/>
                <a:gd name="T10" fmla="*/ 428 w 826"/>
                <a:gd name="T11" fmla="*/ 0 h 880"/>
                <a:gd name="T12" fmla="*/ 370 w 826"/>
                <a:gd name="T13" fmla="*/ 61 h 880"/>
                <a:gd name="T14" fmla="*/ 347 w 826"/>
                <a:gd name="T15" fmla="*/ 92 h 880"/>
                <a:gd name="T16" fmla="*/ 382 w 826"/>
                <a:gd name="T17" fmla="*/ 97 h 880"/>
                <a:gd name="T18" fmla="*/ 388 w 826"/>
                <a:gd name="T19" fmla="*/ 114 h 880"/>
                <a:gd name="T20" fmla="*/ 388 w 826"/>
                <a:gd name="T21" fmla="*/ 140 h 880"/>
                <a:gd name="T22" fmla="*/ 396 w 826"/>
                <a:gd name="T23" fmla="*/ 154 h 880"/>
                <a:gd name="T24" fmla="*/ 416 w 826"/>
                <a:gd name="T25" fmla="*/ 174 h 880"/>
                <a:gd name="T26" fmla="*/ 413 w 826"/>
                <a:gd name="T27" fmla="*/ 185 h 880"/>
                <a:gd name="T28" fmla="*/ 317 w 826"/>
                <a:gd name="T29" fmla="*/ 157 h 880"/>
                <a:gd name="T30" fmla="*/ 305 w 826"/>
                <a:gd name="T31" fmla="*/ 152 h 880"/>
                <a:gd name="T32" fmla="*/ 283 w 826"/>
                <a:gd name="T33" fmla="*/ 131 h 880"/>
                <a:gd name="T34" fmla="*/ 199 w 826"/>
                <a:gd name="T35" fmla="*/ 97 h 880"/>
                <a:gd name="T36" fmla="*/ 228 w 826"/>
                <a:gd name="T37" fmla="*/ 169 h 880"/>
                <a:gd name="T38" fmla="*/ 225 w 826"/>
                <a:gd name="T39" fmla="*/ 180 h 880"/>
                <a:gd name="T40" fmla="*/ 206 w 826"/>
                <a:gd name="T41" fmla="*/ 209 h 880"/>
                <a:gd name="T42" fmla="*/ 78 w 826"/>
                <a:gd name="T43" fmla="*/ 542 h 880"/>
                <a:gd name="T44" fmla="*/ 64 w 826"/>
                <a:gd name="T45" fmla="*/ 544 h 880"/>
                <a:gd name="T46" fmla="*/ 57 w 826"/>
                <a:gd name="T47" fmla="*/ 604 h 880"/>
                <a:gd name="T48" fmla="*/ 29 w 826"/>
                <a:gd name="T49" fmla="*/ 741 h 880"/>
                <a:gd name="T50" fmla="*/ 115 w 826"/>
                <a:gd name="T51" fmla="*/ 558 h 880"/>
                <a:gd name="T52" fmla="*/ 206 w 826"/>
                <a:gd name="T53" fmla="*/ 568 h 880"/>
                <a:gd name="T54" fmla="*/ 217 w 826"/>
                <a:gd name="T55" fmla="*/ 578 h 880"/>
                <a:gd name="T56" fmla="*/ 222 w 826"/>
                <a:gd name="T57" fmla="*/ 880 h 880"/>
                <a:gd name="T58" fmla="*/ 257 w 826"/>
                <a:gd name="T59" fmla="*/ 576 h 880"/>
                <a:gd name="T60" fmla="*/ 276 w 826"/>
                <a:gd name="T61" fmla="*/ 296 h 880"/>
                <a:gd name="T62" fmla="*/ 380 w 826"/>
                <a:gd name="T63" fmla="*/ 516 h 880"/>
                <a:gd name="T64" fmla="*/ 447 w 826"/>
                <a:gd name="T65" fmla="*/ 607 h 880"/>
                <a:gd name="T66" fmla="*/ 411 w 826"/>
                <a:gd name="T67" fmla="*/ 518 h 880"/>
                <a:gd name="T68" fmla="*/ 421 w 826"/>
                <a:gd name="T69" fmla="*/ 502 h 880"/>
                <a:gd name="T70" fmla="*/ 407 w 826"/>
                <a:gd name="T71" fmla="*/ 501 h 880"/>
                <a:gd name="T72" fmla="*/ 283 w 826"/>
                <a:gd name="T73" fmla="*/ 195 h 880"/>
                <a:gd name="T74" fmla="*/ 293 w 826"/>
                <a:gd name="T75" fmla="*/ 217 h 880"/>
                <a:gd name="T76" fmla="*/ 417 w 826"/>
                <a:gd name="T77" fmla="*/ 252 h 880"/>
                <a:gd name="T78" fmla="*/ 471 w 826"/>
                <a:gd name="T79" fmla="*/ 248 h 880"/>
                <a:gd name="T80" fmla="*/ 482 w 826"/>
                <a:gd name="T81" fmla="*/ 289 h 880"/>
                <a:gd name="T82" fmla="*/ 496 w 826"/>
                <a:gd name="T83" fmla="*/ 431 h 880"/>
                <a:gd name="T84" fmla="*/ 612 w 826"/>
                <a:gd name="T85" fmla="*/ 411 h 880"/>
                <a:gd name="T86" fmla="*/ 618 w 826"/>
                <a:gd name="T87" fmla="*/ 456 h 880"/>
                <a:gd name="T88" fmla="*/ 604 w 826"/>
                <a:gd name="T89" fmla="*/ 499 h 880"/>
                <a:gd name="T90" fmla="*/ 595 w 826"/>
                <a:gd name="T91" fmla="*/ 616 h 880"/>
                <a:gd name="T92" fmla="*/ 581 w 826"/>
                <a:gd name="T93" fmla="*/ 698 h 880"/>
                <a:gd name="T94" fmla="*/ 513 w 826"/>
                <a:gd name="T95" fmla="*/ 732 h 880"/>
                <a:gd name="T96" fmla="*/ 516 w 826"/>
                <a:gd name="T97" fmla="*/ 763 h 880"/>
                <a:gd name="T98" fmla="*/ 596 w 826"/>
                <a:gd name="T99" fmla="*/ 764 h 880"/>
                <a:gd name="T100" fmla="*/ 629 w 826"/>
                <a:gd name="T101" fmla="*/ 780 h 880"/>
                <a:gd name="T102" fmla="*/ 602 w 826"/>
                <a:gd name="T103" fmla="*/ 827 h 880"/>
                <a:gd name="T104" fmla="*/ 686 w 826"/>
                <a:gd name="T105" fmla="*/ 807 h 880"/>
                <a:gd name="T106" fmla="*/ 704 w 826"/>
                <a:gd name="T107" fmla="*/ 783 h 880"/>
                <a:gd name="T108" fmla="*/ 700 w 826"/>
                <a:gd name="T109" fmla="*/ 619 h 880"/>
                <a:gd name="T110" fmla="*/ 746 w 826"/>
                <a:gd name="T111" fmla="*/ 447 h 880"/>
                <a:gd name="T112" fmla="*/ 784 w 826"/>
                <a:gd name="T113" fmla="*/ 391 h 880"/>
                <a:gd name="T114" fmla="*/ 820 w 826"/>
                <a:gd name="T115" fmla="*/ 347 h 880"/>
                <a:gd name="T116" fmla="*/ 481 w 826"/>
                <a:gd name="T117" fmla="*/ 77 h 880"/>
                <a:gd name="T118" fmla="*/ 377 w 826"/>
                <a:gd name="T119" fmla="*/ 60 h 880"/>
                <a:gd name="T120" fmla="*/ 390 w 826"/>
                <a:gd name="T121" fmla="*/ 47 h 880"/>
                <a:gd name="T122" fmla="*/ 441 w 826"/>
                <a:gd name="T123" fmla="*/ 7 h 880"/>
                <a:gd name="T124" fmla="*/ 491 w 826"/>
                <a:gd name="T125" fmla="*/ 41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6" h="880">
                  <a:moveTo>
                    <a:pt x="824" y="330"/>
                  </a:moveTo>
                  <a:lnTo>
                    <a:pt x="824" y="330"/>
                  </a:lnTo>
                  <a:lnTo>
                    <a:pt x="821" y="322"/>
                  </a:lnTo>
                  <a:lnTo>
                    <a:pt x="815" y="311"/>
                  </a:lnTo>
                  <a:lnTo>
                    <a:pt x="806" y="299"/>
                  </a:lnTo>
                  <a:lnTo>
                    <a:pt x="797" y="286"/>
                  </a:lnTo>
                  <a:lnTo>
                    <a:pt x="774" y="263"/>
                  </a:lnTo>
                  <a:lnTo>
                    <a:pt x="754" y="245"/>
                  </a:lnTo>
                  <a:lnTo>
                    <a:pt x="754" y="245"/>
                  </a:lnTo>
                  <a:lnTo>
                    <a:pt x="743" y="236"/>
                  </a:lnTo>
                  <a:lnTo>
                    <a:pt x="730" y="223"/>
                  </a:lnTo>
                  <a:lnTo>
                    <a:pt x="700" y="189"/>
                  </a:lnTo>
                  <a:lnTo>
                    <a:pt x="669" y="152"/>
                  </a:lnTo>
                  <a:lnTo>
                    <a:pt x="639" y="123"/>
                  </a:lnTo>
                  <a:lnTo>
                    <a:pt x="639" y="123"/>
                  </a:lnTo>
                  <a:lnTo>
                    <a:pt x="627" y="112"/>
                  </a:lnTo>
                  <a:lnTo>
                    <a:pt x="613" y="104"/>
                  </a:lnTo>
                  <a:lnTo>
                    <a:pt x="599" y="97"/>
                  </a:lnTo>
                  <a:lnTo>
                    <a:pt x="585" y="92"/>
                  </a:lnTo>
                  <a:lnTo>
                    <a:pt x="561" y="88"/>
                  </a:lnTo>
                  <a:lnTo>
                    <a:pt x="547" y="84"/>
                  </a:lnTo>
                  <a:lnTo>
                    <a:pt x="547" y="84"/>
                  </a:lnTo>
                  <a:lnTo>
                    <a:pt x="522" y="83"/>
                  </a:lnTo>
                  <a:lnTo>
                    <a:pt x="522" y="83"/>
                  </a:lnTo>
                  <a:lnTo>
                    <a:pt x="519" y="80"/>
                  </a:lnTo>
                  <a:lnTo>
                    <a:pt x="516" y="78"/>
                  </a:lnTo>
                  <a:lnTo>
                    <a:pt x="510" y="78"/>
                  </a:lnTo>
                  <a:lnTo>
                    <a:pt x="510" y="78"/>
                  </a:lnTo>
                  <a:lnTo>
                    <a:pt x="508" y="78"/>
                  </a:lnTo>
                  <a:lnTo>
                    <a:pt x="508" y="78"/>
                  </a:lnTo>
                  <a:lnTo>
                    <a:pt x="508" y="77"/>
                  </a:lnTo>
                  <a:lnTo>
                    <a:pt x="508" y="77"/>
                  </a:lnTo>
                  <a:lnTo>
                    <a:pt x="518" y="74"/>
                  </a:lnTo>
                  <a:lnTo>
                    <a:pt x="518" y="74"/>
                  </a:lnTo>
                  <a:lnTo>
                    <a:pt x="519" y="72"/>
                  </a:lnTo>
                  <a:lnTo>
                    <a:pt x="518" y="72"/>
                  </a:lnTo>
                  <a:lnTo>
                    <a:pt x="516" y="71"/>
                  </a:lnTo>
                  <a:lnTo>
                    <a:pt x="516" y="71"/>
                  </a:lnTo>
                  <a:lnTo>
                    <a:pt x="507" y="66"/>
                  </a:lnTo>
                  <a:lnTo>
                    <a:pt x="507" y="66"/>
                  </a:lnTo>
                  <a:lnTo>
                    <a:pt x="505" y="61"/>
                  </a:lnTo>
                  <a:lnTo>
                    <a:pt x="505" y="60"/>
                  </a:lnTo>
                  <a:lnTo>
                    <a:pt x="505" y="60"/>
                  </a:lnTo>
                  <a:lnTo>
                    <a:pt x="507" y="58"/>
                  </a:lnTo>
                  <a:lnTo>
                    <a:pt x="507" y="55"/>
                  </a:lnTo>
                  <a:lnTo>
                    <a:pt x="507" y="55"/>
                  </a:lnTo>
                  <a:lnTo>
                    <a:pt x="501" y="38"/>
                  </a:lnTo>
                  <a:lnTo>
                    <a:pt x="501" y="38"/>
                  </a:lnTo>
                  <a:lnTo>
                    <a:pt x="499" y="37"/>
                  </a:lnTo>
                  <a:lnTo>
                    <a:pt x="498" y="35"/>
                  </a:lnTo>
                  <a:lnTo>
                    <a:pt x="496" y="37"/>
                  </a:lnTo>
                  <a:lnTo>
                    <a:pt x="496" y="37"/>
                  </a:lnTo>
                  <a:lnTo>
                    <a:pt x="491" y="27"/>
                  </a:lnTo>
                  <a:lnTo>
                    <a:pt x="487" y="20"/>
                  </a:lnTo>
                  <a:lnTo>
                    <a:pt x="481" y="14"/>
                  </a:lnTo>
                  <a:lnTo>
                    <a:pt x="474" y="9"/>
                  </a:lnTo>
                  <a:lnTo>
                    <a:pt x="467" y="4"/>
                  </a:lnTo>
                  <a:lnTo>
                    <a:pt x="456" y="3"/>
                  </a:lnTo>
                  <a:lnTo>
                    <a:pt x="444" y="0"/>
                  </a:lnTo>
                  <a:lnTo>
                    <a:pt x="428" y="0"/>
                  </a:lnTo>
                  <a:lnTo>
                    <a:pt x="428" y="0"/>
                  </a:lnTo>
                  <a:lnTo>
                    <a:pt x="421" y="0"/>
                  </a:lnTo>
                  <a:lnTo>
                    <a:pt x="413" y="1"/>
                  </a:lnTo>
                  <a:lnTo>
                    <a:pt x="407" y="4"/>
                  </a:lnTo>
                  <a:lnTo>
                    <a:pt x="402" y="6"/>
                  </a:lnTo>
                  <a:lnTo>
                    <a:pt x="391" y="14"/>
                  </a:lnTo>
                  <a:lnTo>
                    <a:pt x="385" y="23"/>
                  </a:lnTo>
                  <a:lnTo>
                    <a:pt x="379" y="34"/>
                  </a:lnTo>
                  <a:lnTo>
                    <a:pt x="376" y="43"/>
                  </a:lnTo>
                  <a:lnTo>
                    <a:pt x="370" y="61"/>
                  </a:lnTo>
                  <a:lnTo>
                    <a:pt x="370" y="61"/>
                  </a:lnTo>
                  <a:lnTo>
                    <a:pt x="365" y="72"/>
                  </a:lnTo>
                  <a:lnTo>
                    <a:pt x="360" y="78"/>
                  </a:lnTo>
                  <a:lnTo>
                    <a:pt x="354" y="81"/>
                  </a:lnTo>
                  <a:lnTo>
                    <a:pt x="350" y="83"/>
                  </a:lnTo>
                  <a:lnTo>
                    <a:pt x="350" y="83"/>
                  </a:lnTo>
                  <a:lnTo>
                    <a:pt x="347" y="84"/>
                  </a:lnTo>
                  <a:lnTo>
                    <a:pt x="347" y="88"/>
                  </a:lnTo>
                  <a:lnTo>
                    <a:pt x="347" y="92"/>
                  </a:lnTo>
                  <a:lnTo>
                    <a:pt x="347" y="92"/>
                  </a:lnTo>
                  <a:lnTo>
                    <a:pt x="350" y="94"/>
                  </a:lnTo>
                  <a:lnTo>
                    <a:pt x="360" y="92"/>
                  </a:lnTo>
                  <a:lnTo>
                    <a:pt x="360" y="92"/>
                  </a:lnTo>
                  <a:lnTo>
                    <a:pt x="373" y="89"/>
                  </a:lnTo>
                  <a:lnTo>
                    <a:pt x="377" y="88"/>
                  </a:lnTo>
                  <a:lnTo>
                    <a:pt x="377" y="88"/>
                  </a:lnTo>
                  <a:lnTo>
                    <a:pt x="377" y="91"/>
                  </a:lnTo>
                  <a:lnTo>
                    <a:pt x="377" y="91"/>
                  </a:lnTo>
                  <a:lnTo>
                    <a:pt x="379" y="94"/>
                  </a:lnTo>
                  <a:lnTo>
                    <a:pt x="382" y="97"/>
                  </a:lnTo>
                  <a:lnTo>
                    <a:pt x="382" y="97"/>
                  </a:lnTo>
                  <a:lnTo>
                    <a:pt x="384" y="100"/>
                  </a:lnTo>
                  <a:lnTo>
                    <a:pt x="384" y="103"/>
                  </a:lnTo>
                  <a:lnTo>
                    <a:pt x="384" y="108"/>
                  </a:lnTo>
                  <a:lnTo>
                    <a:pt x="384" y="108"/>
                  </a:lnTo>
                  <a:lnTo>
                    <a:pt x="384" y="109"/>
                  </a:lnTo>
                  <a:lnTo>
                    <a:pt x="385" y="111"/>
                  </a:lnTo>
                  <a:lnTo>
                    <a:pt x="388" y="112"/>
                  </a:lnTo>
                  <a:lnTo>
                    <a:pt x="388" y="112"/>
                  </a:lnTo>
                  <a:lnTo>
                    <a:pt x="388" y="114"/>
                  </a:lnTo>
                  <a:lnTo>
                    <a:pt x="387" y="117"/>
                  </a:lnTo>
                  <a:lnTo>
                    <a:pt x="382" y="125"/>
                  </a:lnTo>
                  <a:lnTo>
                    <a:pt x="382" y="125"/>
                  </a:lnTo>
                  <a:lnTo>
                    <a:pt x="379" y="131"/>
                  </a:lnTo>
                  <a:lnTo>
                    <a:pt x="377" y="134"/>
                  </a:lnTo>
                  <a:lnTo>
                    <a:pt x="379" y="135"/>
                  </a:lnTo>
                  <a:lnTo>
                    <a:pt x="379" y="135"/>
                  </a:lnTo>
                  <a:lnTo>
                    <a:pt x="380" y="137"/>
                  </a:lnTo>
                  <a:lnTo>
                    <a:pt x="384" y="138"/>
                  </a:lnTo>
                  <a:lnTo>
                    <a:pt x="388" y="140"/>
                  </a:lnTo>
                  <a:lnTo>
                    <a:pt x="388" y="140"/>
                  </a:lnTo>
                  <a:lnTo>
                    <a:pt x="391" y="140"/>
                  </a:lnTo>
                  <a:lnTo>
                    <a:pt x="391" y="145"/>
                  </a:lnTo>
                  <a:lnTo>
                    <a:pt x="391" y="145"/>
                  </a:lnTo>
                  <a:lnTo>
                    <a:pt x="393" y="148"/>
                  </a:lnTo>
                  <a:lnTo>
                    <a:pt x="396" y="149"/>
                  </a:lnTo>
                  <a:lnTo>
                    <a:pt x="396" y="149"/>
                  </a:lnTo>
                  <a:lnTo>
                    <a:pt x="397" y="151"/>
                  </a:lnTo>
                  <a:lnTo>
                    <a:pt x="396" y="154"/>
                  </a:lnTo>
                  <a:lnTo>
                    <a:pt x="396" y="154"/>
                  </a:lnTo>
                  <a:lnTo>
                    <a:pt x="396" y="155"/>
                  </a:lnTo>
                  <a:lnTo>
                    <a:pt x="397" y="158"/>
                  </a:lnTo>
                  <a:lnTo>
                    <a:pt x="404" y="162"/>
                  </a:lnTo>
                  <a:lnTo>
                    <a:pt x="404" y="162"/>
                  </a:lnTo>
                  <a:lnTo>
                    <a:pt x="405" y="163"/>
                  </a:lnTo>
                  <a:lnTo>
                    <a:pt x="407" y="166"/>
                  </a:lnTo>
                  <a:lnTo>
                    <a:pt x="410" y="172"/>
                  </a:lnTo>
                  <a:lnTo>
                    <a:pt x="410" y="172"/>
                  </a:lnTo>
                  <a:lnTo>
                    <a:pt x="413" y="174"/>
                  </a:lnTo>
                  <a:lnTo>
                    <a:pt x="416" y="174"/>
                  </a:lnTo>
                  <a:lnTo>
                    <a:pt x="425" y="171"/>
                  </a:lnTo>
                  <a:lnTo>
                    <a:pt x="425" y="171"/>
                  </a:lnTo>
                  <a:lnTo>
                    <a:pt x="431" y="169"/>
                  </a:lnTo>
                  <a:lnTo>
                    <a:pt x="437" y="169"/>
                  </a:lnTo>
                  <a:lnTo>
                    <a:pt x="437" y="169"/>
                  </a:lnTo>
                  <a:lnTo>
                    <a:pt x="436" y="171"/>
                  </a:lnTo>
                  <a:lnTo>
                    <a:pt x="431" y="175"/>
                  </a:lnTo>
                  <a:lnTo>
                    <a:pt x="424" y="178"/>
                  </a:lnTo>
                  <a:lnTo>
                    <a:pt x="413" y="185"/>
                  </a:lnTo>
                  <a:lnTo>
                    <a:pt x="413" y="185"/>
                  </a:lnTo>
                  <a:lnTo>
                    <a:pt x="405" y="186"/>
                  </a:lnTo>
                  <a:lnTo>
                    <a:pt x="399" y="186"/>
                  </a:lnTo>
                  <a:lnTo>
                    <a:pt x="387" y="185"/>
                  </a:lnTo>
                  <a:lnTo>
                    <a:pt x="377" y="182"/>
                  </a:lnTo>
                  <a:lnTo>
                    <a:pt x="374" y="182"/>
                  </a:lnTo>
                  <a:lnTo>
                    <a:pt x="339" y="168"/>
                  </a:lnTo>
                  <a:lnTo>
                    <a:pt x="339" y="168"/>
                  </a:lnTo>
                  <a:lnTo>
                    <a:pt x="320" y="158"/>
                  </a:lnTo>
                  <a:lnTo>
                    <a:pt x="320" y="158"/>
                  </a:lnTo>
                  <a:lnTo>
                    <a:pt x="317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4" y="158"/>
                  </a:lnTo>
                  <a:lnTo>
                    <a:pt x="311" y="162"/>
                  </a:lnTo>
                  <a:lnTo>
                    <a:pt x="311" y="162"/>
                  </a:lnTo>
                  <a:lnTo>
                    <a:pt x="302" y="152"/>
                  </a:lnTo>
                  <a:lnTo>
                    <a:pt x="302" y="152"/>
                  </a:lnTo>
                  <a:lnTo>
                    <a:pt x="305" y="152"/>
                  </a:lnTo>
                  <a:lnTo>
                    <a:pt x="306" y="149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5" y="120"/>
                  </a:lnTo>
                  <a:lnTo>
                    <a:pt x="303" y="118"/>
                  </a:lnTo>
                  <a:lnTo>
                    <a:pt x="300" y="118"/>
                  </a:lnTo>
                  <a:lnTo>
                    <a:pt x="293" y="128"/>
                  </a:lnTo>
                  <a:lnTo>
                    <a:pt x="288" y="128"/>
                  </a:lnTo>
                  <a:lnTo>
                    <a:pt x="288" y="131"/>
                  </a:lnTo>
                  <a:lnTo>
                    <a:pt x="283" y="131"/>
                  </a:lnTo>
                  <a:lnTo>
                    <a:pt x="273" y="81"/>
                  </a:lnTo>
                  <a:lnTo>
                    <a:pt x="273" y="81"/>
                  </a:lnTo>
                  <a:lnTo>
                    <a:pt x="273" y="80"/>
                  </a:lnTo>
                  <a:lnTo>
                    <a:pt x="269" y="78"/>
                  </a:lnTo>
                  <a:lnTo>
                    <a:pt x="215" y="81"/>
                  </a:lnTo>
                  <a:lnTo>
                    <a:pt x="215" y="81"/>
                  </a:lnTo>
                  <a:lnTo>
                    <a:pt x="212" y="81"/>
                  </a:lnTo>
                  <a:lnTo>
                    <a:pt x="212" y="84"/>
                  </a:lnTo>
                  <a:lnTo>
                    <a:pt x="212" y="97"/>
                  </a:lnTo>
                  <a:lnTo>
                    <a:pt x="199" y="97"/>
                  </a:lnTo>
                  <a:lnTo>
                    <a:pt x="212" y="138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4" y="165"/>
                  </a:lnTo>
                  <a:lnTo>
                    <a:pt x="214" y="165"/>
                  </a:lnTo>
                  <a:lnTo>
                    <a:pt x="215" y="165"/>
                  </a:lnTo>
                  <a:lnTo>
                    <a:pt x="239" y="165"/>
                  </a:lnTo>
                  <a:lnTo>
                    <a:pt x="239" y="169"/>
                  </a:lnTo>
                  <a:lnTo>
                    <a:pt x="228" y="169"/>
                  </a:lnTo>
                  <a:lnTo>
                    <a:pt x="228" y="169"/>
                  </a:lnTo>
                  <a:lnTo>
                    <a:pt x="225" y="171"/>
                  </a:lnTo>
                  <a:lnTo>
                    <a:pt x="223" y="174"/>
                  </a:lnTo>
                  <a:lnTo>
                    <a:pt x="223" y="174"/>
                  </a:lnTo>
                  <a:lnTo>
                    <a:pt x="225" y="177"/>
                  </a:lnTo>
                  <a:lnTo>
                    <a:pt x="228" y="178"/>
                  </a:lnTo>
                  <a:lnTo>
                    <a:pt x="262" y="178"/>
                  </a:lnTo>
                  <a:lnTo>
                    <a:pt x="262" y="178"/>
                  </a:lnTo>
                  <a:lnTo>
                    <a:pt x="263" y="180"/>
                  </a:lnTo>
                  <a:lnTo>
                    <a:pt x="225" y="180"/>
                  </a:lnTo>
                  <a:lnTo>
                    <a:pt x="225" y="180"/>
                  </a:lnTo>
                  <a:lnTo>
                    <a:pt x="222" y="182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19" y="192"/>
                  </a:lnTo>
                  <a:lnTo>
                    <a:pt x="217" y="191"/>
                  </a:lnTo>
                  <a:lnTo>
                    <a:pt x="217" y="191"/>
                  </a:lnTo>
                  <a:lnTo>
                    <a:pt x="215" y="191"/>
                  </a:lnTo>
                  <a:lnTo>
                    <a:pt x="214" y="192"/>
                  </a:lnTo>
                  <a:lnTo>
                    <a:pt x="206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11" y="21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8" y="542"/>
                  </a:lnTo>
                  <a:lnTo>
                    <a:pt x="77" y="541"/>
                  </a:lnTo>
                  <a:lnTo>
                    <a:pt x="77" y="541"/>
                  </a:lnTo>
                  <a:lnTo>
                    <a:pt x="75" y="541"/>
                  </a:lnTo>
                  <a:lnTo>
                    <a:pt x="74" y="542"/>
                  </a:lnTo>
                  <a:lnTo>
                    <a:pt x="72" y="545"/>
                  </a:lnTo>
                  <a:lnTo>
                    <a:pt x="67" y="544"/>
                  </a:lnTo>
                  <a:lnTo>
                    <a:pt x="67" y="544"/>
                  </a:lnTo>
                  <a:lnTo>
                    <a:pt x="66" y="544"/>
                  </a:lnTo>
                  <a:lnTo>
                    <a:pt x="64" y="544"/>
                  </a:lnTo>
                  <a:lnTo>
                    <a:pt x="64" y="544"/>
                  </a:lnTo>
                  <a:lnTo>
                    <a:pt x="64" y="545"/>
                  </a:lnTo>
                  <a:lnTo>
                    <a:pt x="66" y="547"/>
                  </a:lnTo>
                  <a:lnTo>
                    <a:pt x="72" y="550"/>
                  </a:lnTo>
                  <a:lnTo>
                    <a:pt x="69" y="556"/>
                  </a:lnTo>
                  <a:lnTo>
                    <a:pt x="69" y="558"/>
                  </a:lnTo>
                  <a:lnTo>
                    <a:pt x="69" y="558"/>
                  </a:lnTo>
                  <a:lnTo>
                    <a:pt x="71" y="561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57" y="604"/>
                  </a:lnTo>
                  <a:lnTo>
                    <a:pt x="57" y="604"/>
                  </a:lnTo>
                  <a:lnTo>
                    <a:pt x="38" y="653"/>
                  </a:lnTo>
                  <a:lnTo>
                    <a:pt x="38" y="653"/>
                  </a:lnTo>
                  <a:lnTo>
                    <a:pt x="37" y="659"/>
                  </a:lnTo>
                  <a:lnTo>
                    <a:pt x="37" y="659"/>
                  </a:lnTo>
                  <a:lnTo>
                    <a:pt x="37" y="661"/>
                  </a:lnTo>
                  <a:lnTo>
                    <a:pt x="38" y="664"/>
                  </a:lnTo>
                  <a:lnTo>
                    <a:pt x="9" y="733"/>
                  </a:lnTo>
                  <a:lnTo>
                    <a:pt x="0" y="781"/>
                  </a:lnTo>
                  <a:lnTo>
                    <a:pt x="29" y="741"/>
                  </a:lnTo>
                  <a:lnTo>
                    <a:pt x="57" y="670"/>
                  </a:lnTo>
                  <a:lnTo>
                    <a:pt x="57" y="670"/>
                  </a:lnTo>
                  <a:lnTo>
                    <a:pt x="63" y="667"/>
                  </a:lnTo>
                  <a:lnTo>
                    <a:pt x="66" y="664"/>
                  </a:lnTo>
                  <a:lnTo>
                    <a:pt x="66" y="664"/>
                  </a:lnTo>
                  <a:lnTo>
                    <a:pt x="106" y="559"/>
                  </a:lnTo>
                  <a:lnTo>
                    <a:pt x="106" y="559"/>
                  </a:lnTo>
                  <a:lnTo>
                    <a:pt x="106" y="559"/>
                  </a:lnTo>
                  <a:lnTo>
                    <a:pt x="115" y="558"/>
                  </a:lnTo>
                  <a:lnTo>
                    <a:pt x="115" y="558"/>
                  </a:lnTo>
                  <a:lnTo>
                    <a:pt x="117" y="556"/>
                  </a:lnTo>
                  <a:lnTo>
                    <a:pt x="123" y="541"/>
                  </a:lnTo>
                  <a:lnTo>
                    <a:pt x="123" y="541"/>
                  </a:lnTo>
                  <a:lnTo>
                    <a:pt x="123" y="539"/>
                  </a:lnTo>
                  <a:lnTo>
                    <a:pt x="123" y="539"/>
                  </a:lnTo>
                  <a:lnTo>
                    <a:pt x="121" y="538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06" y="565"/>
                  </a:lnTo>
                  <a:lnTo>
                    <a:pt x="206" y="568"/>
                  </a:lnTo>
                  <a:lnTo>
                    <a:pt x="217" y="568"/>
                  </a:lnTo>
                  <a:lnTo>
                    <a:pt x="217" y="573"/>
                  </a:lnTo>
                  <a:lnTo>
                    <a:pt x="212" y="573"/>
                  </a:lnTo>
                  <a:lnTo>
                    <a:pt x="212" y="573"/>
                  </a:lnTo>
                  <a:lnTo>
                    <a:pt x="211" y="575"/>
                  </a:lnTo>
                  <a:lnTo>
                    <a:pt x="209" y="575"/>
                  </a:lnTo>
                  <a:lnTo>
                    <a:pt x="209" y="575"/>
                  </a:lnTo>
                  <a:lnTo>
                    <a:pt x="211" y="576"/>
                  </a:lnTo>
                  <a:lnTo>
                    <a:pt x="212" y="578"/>
                  </a:lnTo>
                  <a:lnTo>
                    <a:pt x="217" y="578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2" y="689"/>
                  </a:lnTo>
                  <a:lnTo>
                    <a:pt x="214" y="692"/>
                  </a:lnTo>
                  <a:lnTo>
                    <a:pt x="214" y="692"/>
                  </a:lnTo>
                  <a:lnTo>
                    <a:pt x="217" y="693"/>
                  </a:lnTo>
                  <a:lnTo>
                    <a:pt x="214" y="815"/>
                  </a:lnTo>
                  <a:lnTo>
                    <a:pt x="222" y="880"/>
                  </a:lnTo>
                  <a:lnTo>
                    <a:pt x="237" y="814"/>
                  </a:lnTo>
                  <a:lnTo>
                    <a:pt x="240" y="693"/>
                  </a:lnTo>
                  <a:lnTo>
                    <a:pt x="240" y="693"/>
                  </a:lnTo>
                  <a:lnTo>
                    <a:pt x="245" y="690"/>
                  </a:lnTo>
                  <a:lnTo>
                    <a:pt x="246" y="687"/>
                  </a:lnTo>
                  <a:lnTo>
                    <a:pt x="246" y="687"/>
                  </a:lnTo>
                  <a:lnTo>
                    <a:pt x="251" y="578"/>
                  </a:lnTo>
                  <a:lnTo>
                    <a:pt x="257" y="578"/>
                  </a:lnTo>
                  <a:lnTo>
                    <a:pt x="257" y="578"/>
                  </a:lnTo>
                  <a:lnTo>
                    <a:pt x="257" y="576"/>
                  </a:lnTo>
                  <a:lnTo>
                    <a:pt x="259" y="575"/>
                  </a:lnTo>
                  <a:lnTo>
                    <a:pt x="259" y="575"/>
                  </a:lnTo>
                  <a:lnTo>
                    <a:pt x="257" y="573"/>
                  </a:lnTo>
                  <a:lnTo>
                    <a:pt x="257" y="573"/>
                  </a:lnTo>
                  <a:lnTo>
                    <a:pt x="251" y="573"/>
                  </a:lnTo>
                  <a:lnTo>
                    <a:pt x="251" y="568"/>
                  </a:lnTo>
                  <a:lnTo>
                    <a:pt x="260" y="568"/>
                  </a:lnTo>
                  <a:lnTo>
                    <a:pt x="260" y="565"/>
                  </a:lnTo>
                  <a:lnTo>
                    <a:pt x="260" y="565"/>
                  </a:lnTo>
                  <a:lnTo>
                    <a:pt x="276" y="296"/>
                  </a:lnTo>
                  <a:lnTo>
                    <a:pt x="365" y="498"/>
                  </a:lnTo>
                  <a:lnTo>
                    <a:pt x="365" y="498"/>
                  </a:lnTo>
                  <a:lnTo>
                    <a:pt x="363" y="498"/>
                  </a:lnTo>
                  <a:lnTo>
                    <a:pt x="363" y="498"/>
                  </a:lnTo>
                  <a:lnTo>
                    <a:pt x="362" y="499"/>
                  </a:lnTo>
                  <a:lnTo>
                    <a:pt x="370" y="513"/>
                  </a:lnTo>
                  <a:lnTo>
                    <a:pt x="370" y="513"/>
                  </a:lnTo>
                  <a:lnTo>
                    <a:pt x="371" y="515"/>
                  </a:lnTo>
                  <a:lnTo>
                    <a:pt x="371" y="515"/>
                  </a:lnTo>
                  <a:lnTo>
                    <a:pt x="380" y="516"/>
                  </a:lnTo>
                  <a:lnTo>
                    <a:pt x="380" y="516"/>
                  </a:lnTo>
                  <a:lnTo>
                    <a:pt x="380" y="516"/>
                  </a:lnTo>
                  <a:lnTo>
                    <a:pt x="419" y="607"/>
                  </a:lnTo>
                  <a:lnTo>
                    <a:pt x="419" y="607"/>
                  </a:lnTo>
                  <a:lnTo>
                    <a:pt x="424" y="610"/>
                  </a:lnTo>
                  <a:lnTo>
                    <a:pt x="428" y="613"/>
                  </a:lnTo>
                  <a:lnTo>
                    <a:pt x="456" y="675"/>
                  </a:lnTo>
                  <a:lnTo>
                    <a:pt x="484" y="709"/>
                  </a:lnTo>
                  <a:lnTo>
                    <a:pt x="474" y="667"/>
                  </a:lnTo>
                  <a:lnTo>
                    <a:pt x="447" y="607"/>
                  </a:lnTo>
                  <a:lnTo>
                    <a:pt x="447" y="607"/>
                  </a:lnTo>
                  <a:lnTo>
                    <a:pt x="448" y="605"/>
                  </a:lnTo>
                  <a:lnTo>
                    <a:pt x="448" y="602"/>
                  </a:lnTo>
                  <a:lnTo>
                    <a:pt x="448" y="602"/>
                  </a:lnTo>
                  <a:lnTo>
                    <a:pt x="447" y="598"/>
                  </a:lnTo>
                  <a:lnTo>
                    <a:pt x="447" y="598"/>
                  </a:lnTo>
                  <a:lnTo>
                    <a:pt x="428" y="555"/>
                  </a:lnTo>
                  <a:lnTo>
                    <a:pt x="428" y="555"/>
                  </a:lnTo>
                  <a:lnTo>
                    <a:pt x="411" y="518"/>
                  </a:lnTo>
                  <a:lnTo>
                    <a:pt x="411" y="518"/>
                  </a:lnTo>
                  <a:lnTo>
                    <a:pt x="414" y="516"/>
                  </a:lnTo>
                  <a:lnTo>
                    <a:pt x="416" y="515"/>
                  </a:lnTo>
                  <a:lnTo>
                    <a:pt x="416" y="513"/>
                  </a:lnTo>
                  <a:lnTo>
                    <a:pt x="413" y="507"/>
                  </a:lnTo>
                  <a:lnTo>
                    <a:pt x="419" y="505"/>
                  </a:lnTo>
                  <a:lnTo>
                    <a:pt x="419" y="505"/>
                  </a:lnTo>
                  <a:lnTo>
                    <a:pt x="421" y="504"/>
                  </a:lnTo>
                  <a:lnTo>
                    <a:pt x="421" y="502"/>
                  </a:lnTo>
                  <a:lnTo>
                    <a:pt x="421" y="502"/>
                  </a:lnTo>
                  <a:lnTo>
                    <a:pt x="421" y="502"/>
                  </a:lnTo>
                  <a:lnTo>
                    <a:pt x="419" y="502"/>
                  </a:lnTo>
                  <a:lnTo>
                    <a:pt x="413" y="504"/>
                  </a:lnTo>
                  <a:lnTo>
                    <a:pt x="411" y="501"/>
                  </a:lnTo>
                  <a:lnTo>
                    <a:pt x="411" y="501"/>
                  </a:lnTo>
                  <a:lnTo>
                    <a:pt x="410" y="499"/>
                  </a:lnTo>
                  <a:lnTo>
                    <a:pt x="410" y="499"/>
                  </a:lnTo>
                  <a:lnTo>
                    <a:pt x="408" y="501"/>
                  </a:lnTo>
                  <a:lnTo>
                    <a:pt x="408" y="501"/>
                  </a:lnTo>
                  <a:lnTo>
                    <a:pt x="407" y="501"/>
                  </a:lnTo>
                  <a:lnTo>
                    <a:pt x="407" y="501"/>
                  </a:lnTo>
                  <a:lnTo>
                    <a:pt x="407" y="501"/>
                  </a:lnTo>
                  <a:lnTo>
                    <a:pt x="279" y="217"/>
                  </a:lnTo>
                  <a:lnTo>
                    <a:pt x="279" y="217"/>
                  </a:lnTo>
                  <a:lnTo>
                    <a:pt x="279" y="212"/>
                  </a:lnTo>
                  <a:lnTo>
                    <a:pt x="279" y="212"/>
                  </a:lnTo>
                  <a:lnTo>
                    <a:pt x="277" y="195"/>
                  </a:lnTo>
                  <a:lnTo>
                    <a:pt x="277" y="195"/>
                  </a:lnTo>
                  <a:lnTo>
                    <a:pt x="280" y="195"/>
                  </a:lnTo>
                  <a:lnTo>
                    <a:pt x="283" y="195"/>
                  </a:lnTo>
                  <a:lnTo>
                    <a:pt x="283" y="195"/>
                  </a:lnTo>
                  <a:lnTo>
                    <a:pt x="286" y="195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197"/>
                  </a:lnTo>
                  <a:lnTo>
                    <a:pt x="291" y="206"/>
                  </a:lnTo>
                  <a:lnTo>
                    <a:pt x="291" y="212"/>
                  </a:lnTo>
                  <a:lnTo>
                    <a:pt x="293" y="215"/>
                  </a:lnTo>
                  <a:lnTo>
                    <a:pt x="293" y="217"/>
                  </a:lnTo>
                  <a:lnTo>
                    <a:pt x="293" y="217"/>
                  </a:lnTo>
                  <a:lnTo>
                    <a:pt x="328" y="229"/>
                  </a:lnTo>
                  <a:lnTo>
                    <a:pt x="356" y="237"/>
                  </a:lnTo>
                  <a:lnTo>
                    <a:pt x="376" y="243"/>
                  </a:lnTo>
                  <a:lnTo>
                    <a:pt x="376" y="243"/>
                  </a:lnTo>
                  <a:lnTo>
                    <a:pt x="387" y="246"/>
                  </a:lnTo>
                  <a:lnTo>
                    <a:pt x="394" y="251"/>
                  </a:lnTo>
                  <a:lnTo>
                    <a:pt x="402" y="254"/>
                  </a:lnTo>
                  <a:lnTo>
                    <a:pt x="407" y="256"/>
                  </a:lnTo>
                  <a:lnTo>
                    <a:pt x="407" y="256"/>
                  </a:lnTo>
                  <a:lnTo>
                    <a:pt x="417" y="252"/>
                  </a:lnTo>
                  <a:lnTo>
                    <a:pt x="434" y="245"/>
                  </a:lnTo>
                  <a:lnTo>
                    <a:pt x="464" y="232"/>
                  </a:lnTo>
                  <a:lnTo>
                    <a:pt x="464" y="232"/>
                  </a:lnTo>
                  <a:lnTo>
                    <a:pt x="468" y="231"/>
                  </a:lnTo>
                  <a:lnTo>
                    <a:pt x="471" y="231"/>
                  </a:lnTo>
                  <a:lnTo>
                    <a:pt x="471" y="234"/>
                  </a:lnTo>
                  <a:lnTo>
                    <a:pt x="470" y="240"/>
                  </a:lnTo>
                  <a:lnTo>
                    <a:pt x="470" y="240"/>
                  </a:lnTo>
                  <a:lnTo>
                    <a:pt x="470" y="245"/>
                  </a:lnTo>
                  <a:lnTo>
                    <a:pt x="471" y="248"/>
                  </a:lnTo>
                  <a:lnTo>
                    <a:pt x="474" y="248"/>
                  </a:lnTo>
                  <a:lnTo>
                    <a:pt x="478" y="248"/>
                  </a:lnTo>
                  <a:lnTo>
                    <a:pt x="478" y="248"/>
                  </a:lnTo>
                  <a:lnTo>
                    <a:pt x="481" y="249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1" y="256"/>
                  </a:lnTo>
                  <a:lnTo>
                    <a:pt x="481" y="256"/>
                  </a:lnTo>
                  <a:lnTo>
                    <a:pt x="482" y="289"/>
                  </a:lnTo>
                  <a:lnTo>
                    <a:pt x="485" y="316"/>
                  </a:lnTo>
                  <a:lnTo>
                    <a:pt x="488" y="342"/>
                  </a:lnTo>
                  <a:lnTo>
                    <a:pt x="488" y="342"/>
                  </a:lnTo>
                  <a:lnTo>
                    <a:pt x="491" y="363"/>
                  </a:lnTo>
                  <a:lnTo>
                    <a:pt x="493" y="384"/>
                  </a:lnTo>
                  <a:lnTo>
                    <a:pt x="493" y="417"/>
                  </a:lnTo>
                  <a:lnTo>
                    <a:pt x="493" y="417"/>
                  </a:lnTo>
                  <a:lnTo>
                    <a:pt x="493" y="424"/>
                  </a:lnTo>
                  <a:lnTo>
                    <a:pt x="495" y="428"/>
                  </a:lnTo>
                  <a:lnTo>
                    <a:pt x="496" y="431"/>
                  </a:lnTo>
                  <a:lnTo>
                    <a:pt x="498" y="433"/>
                  </a:lnTo>
                  <a:lnTo>
                    <a:pt x="502" y="433"/>
                  </a:lnTo>
                  <a:lnTo>
                    <a:pt x="508" y="434"/>
                  </a:lnTo>
                  <a:lnTo>
                    <a:pt x="508" y="434"/>
                  </a:lnTo>
                  <a:lnTo>
                    <a:pt x="518" y="434"/>
                  </a:lnTo>
                  <a:lnTo>
                    <a:pt x="530" y="433"/>
                  </a:lnTo>
                  <a:lnTo>
                    <a:pt x="564" y="425"/>
                  </a:lnTo>
                  <a:lnTo>
                    <a:pt x="564" y="425"/>
                  </a:lnTo>
                  <a:lnTo>
                    <a:pt x="606" y="411"/>
                  </a:lnTo>
                  <a:lnTo>
                    <a:pt x="612" y="411"/>
                  </a:lnTo>
                  <a:lnTo>
                    <a:pt x="612" y="411"/>
                  </a:lnTo>
                  <a:lnTo>
                    <a:pt x="618" y="433"/>
                  </a:lnTo>
                  <a:lnTo>
                    <a:pt x="618" y="433"/>
                  </a:lnTo>
                  <a:lnTo>
                    <a:pt x="621" y="442"/>
                  </a:lnTo>
                  <a:lnTo>
                    <a:pt x="624" y="448"/>
                  </a:lnTo>
                  <a:lnTo>
                    <a:pt x="624" y="448"/>
                  </a:lnTo>
                  <a:lnTo>
                    <a:pt x="622" y="448"/>
                  </a:lnTo>
                  <a:lnTo>
                    <a:pt x="622" y="448"/>
                  </a:lnTo>
                  <a:lnTo>
                    <a:pt x="618" y="453"/>
                  </a:lnTo>
                  <a:lnTo>
                    <a:pt x="618" y="456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67"/>
                  </a:lnTo>
                  <a:lnTo>
                    <a:pt x="615" y="474"/>
                  </a:lnTo>
                  <a:lnTo>
                    <a:pt x="615" y="474"/>
                  </a:lnTo>
                  <a:lnTo>
                    <a:pt x="613" y="479"/>
                  </a:lnTo>
                  <a:lnTo>
                    <a:pt x="613" y="479"/>
                  </a:lnTo>
                  <a:lnTo>
                    <a:pt x="613" y="481"/>
                  </a:lnTo>
                  <a:lnTo>
                    <a:pt x="613" y="481"/>
                  </a:lnTo>
                  <a:lnTo>
                    <a:pt x="604" y="499"/>
                  </a:lnTo>
                  <a:lnTo>
                    <a:pt x="604" y="499"/>
                  </a:lnTo>
                  <a:lnTo>
                    <a:pt x="601" y="505"/>
                  </a:lnTo>
                  <a:lnTo>
                    <a:pt x="601" y="511"/>
                  </a:lnTo>
                  <a:lnTo>
                    <a:pt x="604" y="525"/>
                  </a:lnTo>
                  <a:lnTo>
                    <a:pt x="604" y="525"/>
                  </a:lnTo>
                  <a:lnTo>
                    <a:pt x="604" y="538"/>
                  </a:lnTo>
                  <a:lnTo>
                    <a:pt x="604" y="553"/>
                  </a:lnTo>
                  <a:lnTo>
                    <a:pt x="599" y="595"/>
                  </a:lnTo>
                  <a:lnTo>
                    <a:pt x="599" y="595"/>
                  </a:lnTo>
                  <a:lnTo>
                    <a:pt x="595" y="616"/>
                  </a:lnTo>
                  <a:lnTo>
                    <a:pt x="590" y="638"/>
                  </a:lnTo>
                  <a:lnTo>
                    <a:pt x="582" y="667"/>
                  </a:lnTo>
                  <a:lnTo>
                    <a:pt x="582" y="667"/>
                  </a:lnTo>
                  <a:lnTo>
                    <a:pt x="581" y="675"/>
                  </a:lnTo>
                  <a:lnTo>
                    <a:pt x="581" y="679"/>
                  </a:lnTo>
                  <a:lnTo>
                    <a:pt x="582" y="683"/>
                  </a:lnTo>
                  <a:lnTo>
                    <a:pt x="584" y="683"/>
                  </a:lnTo>
                  <a:lnTo>
                    <a:pt x="584" y="683"/>
                  </a:lnTo>
                  <a:lnTo>
                    <a:pt x="581" y="698"/>
                  </a:lnTo>
                  <a:lnTo>
                    <a:pt x="581" y="698"/>
                  </a:lnTo>
                  <a:lnTo>
                    <a:pt x="579" y="701"/>
                  </a:lnTo>
                  <a:lnTo>
                    <a:pt x="576" y="704"/>
                  </a:lnTo>
                  <a:lnTo>
                    <a:pt x="567" y="709"/>
                  </a:lnTo>
                  <a:lnTo>
                    <a:pt x="567" y="709"/>
                  </a:lnTo>
                  <a:lnTo>
                    <a:pt x="564" y="712"/>
                  </a:lnTo>
                  <a:lnTo>
                    <a:pt x="564" y="715"/>
                  </a:lnTo>
                  <a:lnTo>
                    <a:pt x="565" y="716"/>
                  </a:lnTo>
                  <a:lnTo>
                    <a:pt x="565" y="716"/>
                  </a:lnTo>
                  <a:lnTo>
                    <a:pt x="542" y="724"/>
                  </a:lnTo>
                  <a:lnTo>
                    <a:pt x="513" y="732"/>
                  </a:lnTo>
                  <a:lnTo>
                    <a:pt x="513" y="732"/>
                  </a:lnTo>
                  <a:lnTo>
                    <a:pt x="504" y="733"/>
                  </a:lnTo>
                  <a:lnTo>
                    <a:pt x="499" y="738"/>
                  </a:lnTo>
                  <a:lnTo>
                    <a:pt x="498" y="743"/>
                  </a:lnTo>
                  <a:lnTo>
                    <a:pt x="498" y="749"/>
                  </a:lnTo>
                  <a:lnTo>
                    <a:pt x="498" y="749"/>
                  </a:lnTo>
                  <a:lnTo>
                    <a:pt x="498" y="753"/>
                  </a:lnTo>
                  <a:lnTo>
                    <a:pt x="499" y="758"/>
                  </a:lnTo>
                  <a:lnTo>
                    <a:pt x="505" y="760"/>
                  </a:lnTo>
                  <a:lnTo>
                    <a:pt x="516" y="763"/>
                  </a:lnTo>
                  <a:lnTo>
                    <a:pt x="516" y="763"/>
                  </a:lnTo>
                  <a:lnTo>
                    <a:pt x="530" y="764"/>
                  </a:lnTo>
                  <a:lnTo>
                    <a:pt x="541" y="764"/>
                  </a:lnTo>
                  <a:lnTo>
                    <a:pt x="552" y="763"/>
                  </a:lnTo>
                  <a:lnTo>
                    <a:pt x="564" y="761"/>
                  </a:lnTo>
                  <a:lnTo>
                    <a:pt x="564" y="761"/>
                  </a:lnTo>
                  <a:lnTo>
                    <a:pt x="576" y="760"/>
                  </a:lnTo>
                  <a:lnTo>
                    <a:pt x="587" y="760"/>
                  </a:lnTo>
                  <a:lnTo>
                    <a:pt x="596" y="760"/>
                  </a:lnTo>
                  <a:lnTo>
                    <a:pt x="596" y="764"/>
                  </a:lnTo>
                  <a:lnTo>
                    <a:pt x="609" y="767"/>
                  </a:lnTo>
                  <a:lnTo>
                    <a:pt x="609" y="767"/>
                  </a:lnTo>
                  <a:lnTo>
                    <a:pt x="609" y="772"/>
                  </a:lnTo>
                  <a:lnTo>
                    <a:pt x="610" y="774"/>
                  </a:lnTo>
                  <a:lnTo>
                    <a:pt x="613" y="777"/>
                  </a:lnTo>
                  <a:lnTo>
                    <a:pt x="618" y="777"/>
                  </a:lnTo>
                  <a:lnTo>
                    <a:pt x="627" y="777"/>
                  </a:lnTo>
                  <a:lnTo>
                    <a:pt x="630" y="777"/>
                  </a:lnTo>
                  <a:lnTo>
                    <a:pt x="630" y="777"/>
                  </a:lnTo>
                  <a:lnTo>
                    <a:pt x="629" y="780"/>
                  </a:lnTo>
                  <a:lnTo>
                    <a:pt x="627" y="783"/>
                  </a:lnTo>
                  <a:lnTo>
                    <a:pt x="619" y="789"/>
                  </a:lnTo>
                  <a:lnTo>
                    <a:pt x="602" y="800"/>
                  </a:lnTo>
                  <a:lnTo>
                    <a:pt x="602" y="800"/>
                  </a:lnTo>
                  <a:lnTo>
                    <a:pt x="599" y="804"/>
                  </a:lnTo>
                  <a:lnTo>
                    <a:pt x="598" y="811"/>
                  </a:lnTo>
                  <a:lnTo>
                    <a:pt x="598" y="821"/>
                  </a:lnTo>
                  <a:lnTo>
                    <a:pt x="598" y="821"/>
                  </a:lnTo>
                  <a:lnTo>
                    <a:pt x="599" y="824"/>
                  </a:lnTo>
                  <a:lnTo>
                    <a:pt x="602" y="827"/>
                  </a:lnTo>
                  <a:lnTo>
                    <a:pt x="609" y="827"/>
                  </a:lnTo>
                  <a:lnTo>
                    <a:pt x="619" y="827"/>
                  </a:lnTo>
                  <a:lnTo>
                    <a:pt x="619" y="827"/>
                  </a:lnTo>
                  <a:lnTo>
                    <a:pt x="646" y="827"/>
                  </a:lnTo>
                  <a:lnTo>
                    <a:pt x="656" y="826"/>
                  </a:lnTo>
                  <a:lnTo>
                    <a:pt x="667" y="823"/>
                  </a:lnTo>
                  <a:lnTo>
                    <a:pt x="667" y="823"/>
                  </a:lnTo>
                  <a:lnTo>
                    <a:pt x="676" y="818"/>
                  </a:lnTo>
                  <a:lnTo>
                    <a:pt x="681" y="812"/>
                  </a:lnTo>
                  <a:lnTo>
                    <a:pt x="686" y="807"/>
                  </a:lnTo>
                  <a:lnTo>
                    <a:pt x="687" y="804"/>
                  </a:lnTo>
                  <a:lnTo>
                    <a:pt x="687" y="804"/>
                  </a:lnTo>
                  <a:lnTo>
                    <a:pt x="689" y="801"/>
                  </a:lnTo>
                  <a:lnTo>
                    <a:pt x="692" y="800"/>
                  </a:lnTo>
                  <a:lnTo>
                    <a:pt x="698" y="798"/>
                  </a:lnTo>
                  <a:lnTo>
                    <a:pt x="698" y="798"/>
                  </a:lnTo>
                  <a:lnTo>
                    <a:pt x="701" y="795"/>
                  </a:lnTo>
                  <a:lnTo>
                    <a:pt x="703" y="792"/>
                  </a:lnTo>
                  <a:lnTo>
                    <a:pt x="704" y="783"/>
                  </a:lnTo>
                  <a:lnTo>
                    <a:pt x="704" y="783"/>
                  </a:lnTo>
                  <a:lnTo>
                    <a:pt x="701" y="770"/>
                  </a:lnTo>
                  <a:lnTo>
                    <a:pt x="700" y="761"/>
                  </a:lnTo>
                  <a:lnTo>
                    <a:pt x="700" y="761"/>
                  </a:lnTo>
                  <a:lnTo>
                    <a:pt x="704" y="761"/>
                  </a:lnTo>
                  <a:lnTo>
                    <a:pt x="707" y="758"/>
                  </a:lnTo>
                  <a:lnTo>
                    <a:pt x="707" y="752"/>
                  </a:lnTo>
                  <a:lnTo>
                    <a:pt x="707" y="740"/>
                  </a:lnTo>
                  <a:lnTo>
                    <a:pt x="707" y="740"/>
                  </a:lnTo>
                  <a:lnTo>
                    <a:pt x="700" y="619"/>
                  </a:lnTo>
                  <a:lnTo>
                    <a:pt x="700" y="619"/>
                  </a:lnTo>
                  <a:lnTo>
                    <a:pt x="700" y="604"/>
                  </a:lnTo>
                  <a:lnTo>
                    <a:pt x="700" y="590"/>
                  </a:lnTo>
                  <a:lnTo>
                    <a:pt x="703" y="567"/>
                  </a:lnTo>
                  <a:lnTo>
                    <a:pt x="707" y="544"/>
                  </a:lnTo>
                  <a:lnTo>
                    <a:pt x="713" y="519"/>
                  </a:lnTo>
                  <a:lnTo>
                    <a:pt x="713" y="519"/>
                  </a:lnTo>
                  <a:lnTo>
                    <a:pt x="721" y="496"/>
                  </a:lnTo>
                  <a:lnTo>
                    <a:pt x="727" y="478"/>
                  </a:lnTo>
                  <a:lnTo>
                    <a:pt x="735" y="462"/>
                  </a:lnTo>
                  <a:lnTo>
                    <a:pt x="746" y="447"/>
                  </a:lnTo>
                  <a:lnTo>
                    <a:pt x="746" y="447"/>
                  </a:lnTo>
                  <a:lnTo>
                    <a:pt x="750" y="437"/>
                  </a:lnTo>
                  <a:lnTo>
                    <a:pt x="755" y="428"/>
                  </a:lnTo>
                  <a:lnTo>
                    <a:pt x="763" y="410"/>
                  </a:lnTo>
                  <a:lnTo>
                    <a:pt x="769" y="390"/>
                  </a:lnTo>
                  <a:lnTo>
                    <a:pt x="769" y="390"/>
                  </a:lnTo>
                  <a:lnTo>
                    <a:pt x="772" y="393"/>
                  </a:lnTo>
                  <a:lnTo>
                    <a:pt x="775" y="393"/>
                  </a:lnTo>
                  <a:lnTo>
                    <a:pt x="780" y="393"/>
                  </a:lnTo>
                  <a:lnTo>
                    <a:pt x="784" y="391"/>
                  </a:lnTo>
                  <a:lnTo>
                    <a:pt x="792" y="387"/>
                  </a:lnTo>
                  <a:lnTo>
                    <a:pt x="798" y="382"/>
                  </a:lnTo>
                  <a:lnTo>
                    <a:pt x="798" y="382"/>
                  </a:lnTo>
                  <a:lnTo>
                    <a:pt x="801" y="376"/>
                  </a:lnTo>
                  <a:lnTo>
                    <a:pt x="803" y="367"/>
                  </a:lnTo>
                  <a:lnTo>
                    <a:pt x="804" y="357"/>
                  </a:lnTo>
                  <a:lnTo>
                    <a:pt x="804" y="357"/>
                  </a:lnTo>
                  <a:lnTo>
                    <a:pt x="809" y="356"/>
                  </a:lnTo>
                  <a:lnTo>
                    <a:pt x="817" y="350"/>
                  </a:lnTo>
                  <a:lnTo>
                    <a:pt x="820" y="347"/>
                  </a:lnTo>
                  <a:lnTo>
                    <a:pt x="823" y="342"/>
                  </a:lnTo>
                  <a:lnTo>
                    <a:pt x="826" y="336"/>
                  </a:lnTo>
                  <a:lnTo>
                    <a:pt x="824" y="330"/>
                  </a:lnTo>
                  <a:lnTo>
                    <a:pt x="824" y="330"/>
                  </a:lnTo>
                  <a:close/>
                  <a:moveTo>
                    <a:pt x="501" y="63"/>
                  </a:moveTo>
                  <a:lnTo>
                    <a:pt x="507" y="72"/>
                  </a:lnTo>
                  <a:lnTo>
                    <a:pt x="507" y="72"/>
                  </a:lnTo>
                  <a:lnTo>
                    <a:pt x="499" y="74"/>
                  </a:lnTo>
                  <a:lnTo>
                    <a:pt x="491" y="77"/>
                  </a:lnTo>
                  <a:lnTo>
                    <a:pt x="481" y="77"/>
                  </a:lnTo>
                  <a:lnTo>
                    <a:pt x="501" y="63"/>
                  </a:lnTo>
                  <a:close/>
                  <a:moveTo>
                    <a:pt x="437" y="83"/>
                  </a:moveTo>
                  <a:lnTo>
                    <a:pt x="384" y="81"/>
                  </a:lnTo>
                  <a:lnTo>
                    <a:pt x="384" y="78"/>
                  </a:lnTo>
                  <a:lnTo>
                    <a:pt x="368" y="78"/>
                  </a:lnTo>
                  <a:lnTo>
                    <a:pt x="368" y="78"/>
                  </a:lnTo>
                  <a:lnTo>
                    <a:pt x="371" y="74"/>
                  </a:lnTo>
                  <a:lnTo>
                    <a:pt x="374" y="69"/>
                  </a:lnTo>
                  <a:lnTo>
                    <a:pt x="377" y="60"/>
                  </a:lnTo>
                  <a:lnTo>
                    <a:pt x="377" y="60"/>
                  </a:lnTo>
                  <a:lnTo>
                    <a:pt x="379" y="49"/>
                  </a:lnTo>
                  <a:lnTo>
                    <a:pt x="384" y="37"/>
                  </a:lnTo>
                  <a:lnTo>
                    <a:pt x="385" y="32"/>
                  </a:lnTo>
                  <a:lnTo>
                    <a:pt x="388" y="26"/>
                  </a:lnTo>
                  <a:lnTo>
                    <a:pt x="393" y="21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4" y="27"/>
                  </a:lnTo>
                  <a:lnTo>
                    <a:pt x="391" y="37"/>
                  </a:lnTo>
                  <a:lnTo>
                    <a:pt x="390" y="47"/>
                  </a:lnTo>
                  <a:lnTo>
                    <a:pt x="390" y="47"/>
                  </a:lnTo>
                  <a:lnTo>
                    <a:pt x="393" y="41"/>
                  </a:lnTo>
                  <a:lnTo>
                    <a:pt x="397" y="31"/>
                  </a:lnTo>
                  <a:lnTo>
                    <a:pt x="402" y="23"/>
                  </a:lnTo>
                  <a:lnTo>
                    <a:pt x="407" y="17"/>
                  </a:lnTo>
                  <a:lnTo>
                    <a:pt x="413" y="12"/>
                  </a:lnTo>
                  <a:lnTo>
                    <a:pt x="419" y="9"/>
                  </a:lnTo>
                  <a:lnTo>
                    <a:pt x="419" y="9"/>
                  </a:lnTo>
                  <a:lnTo>
                    <a:pt x="434" y="7"/>
                  </a:lnTo>
                  <a:lnTo>
                    <a:pt x="441" y="7"/>
                  </a:lnTo>
                  <a:lnTo>
                    <a:pt x="448" y="7"/>
                  </a:lnTo>
                  <a:lnTo>
                    <a:pt x="456" y="9"/>
                  </a:lnTo>
                  <a:lnTo>
                    <a:pt x="462" y="12"/>
                  </a:lnTo>
                  <a:lnTo>
                    <a:pt x="468" y="18"/>
                  </a:lnTo>
                  <a:lnTo>
                    <a:pt x="474" y="26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81" y="26"/>
                  </a:lnTo>
                  <a:lnTo>
                    <a:pt x="487" y="34"/>
                  </a:lnTo>
                  <a:lnTo>
                    <a:pt x="491" y="41"/>
                  </a:lnTo>
                  <a:lnTo>
                    <a:pt x="437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898" name="Freeform 682"/>
          <p:cNvSpPr>
            <a:spLocks noEditPoints="1"/>
          </p:cNvSpPr>
          <p:nvPr/>
        </p:nvSpPr>
        <p:spPr bwMode="auto">
          <a:xfrm>
            <a:off x="6234513" y="4060897"/>
            <a:ext cx="1293065" cy="1169524"/>
          </a:xfrm>
          <a:custGeom>
            <a:avLst/>
            <a:gdLst>
              <a:gd name="T0" fmla="*/ 292 w 314"/>
              <a:gd name="T1" fmla="*/ 134 h 284"/>
              <a:gd name="T2" fmla="*/ 270 w 314"/>
              <a:gd name="T3" fmla="*/ 116 h 284"/>
              <a:gd name="T4" fmla="*/ 282 w 314"/>
              <a:gd name="T5" fmla="*/ 94 h 284"/>
              <a:gd name="T6" fmla="*/ 274 w 314"/>
              <a:gd name="T7" fmla="*/ 52 h 284"/>
              <a:gd name="T8" fmla="*/ 238 w 314"/>
              <a:gd name="T9" fmla="*/ 70 h 284"/>
              <a:gd name="T10" fmla="*/ 232 w 314"/>
              <a:gd name="T11" fmla="*/ 52 h 284"/>
              <a:gd name="T12" fmla="*/ 224 w 314"/>
              <a:gd name="T13" fmla="*/ 30 h 284"/>
              <a:gd name="T14" fmla="*/ 190 w 314"/>
              <a:gd name="T15" fmla="*/ 14 h 284"/>
              <a:gd name="T16" fmla="*/ 176 w 314"/>
              <a:gd name="T17" fmla="*/ 8 h 284"/>
              <a:gd name="T18" fmla="*/ 124 w 314"/>
              <a:gd name="T19" fmla="*/ 2 h 284"/>
              <a:gd name="T20" fmla="*/ 114 w 314"/>
              <a:gd name="T21" fmla="*/ 22 h 284"/>
              <a:gd name="T22" fmla="*/ 108 w 314"/>
              <a:gd name="T23" fmla="*/ 50 h 284"/>
              <a:gd name="T24" fmla="*/ 84 w 314"/>
              <a:gd name="T25" fmla="*/ 34 h 284"/>
              <a:gd name="T26" fmla="*/ 56 w 314"/>
              <a:gd name="T27" fmla="*/ 80 h 284"/>
              <a:gd name="T28" fmla="*/ 30 w 314"/>
              <a:gd name="T29" fmla="*/ 128 h 284"/>
              <a:gd name="T30" fmla="*/ 38 w 314"/>
              <a:gd name="T31" fmla="*/ 164 h 284"/>
              <a:gd name="T32" fmla="*/ 12 w 314"/>
              <a:gd name="T33" fmla="*/ 226 h 284"/>
              <a:gd name="T34" fmla="*/ 26 w 314"/>
              <a:gd name="T35" fmla="*/ 266 h 284"/>
              <a:gd name="T36" fmla="*/ 266 w 314"/>
              <a:gd name="T37" fmla="*/ 276 h 284"/>
              <a:gd name="T38" fmla="*/ 240 w 314"/>
              <a:gd name="T39" fmla="*/ 248 h 284"/>
              <a:gd name="T40" fmla="*/ 276 w 314"/>
              <a:gd name="T41" fmla="*/ 246 h 284"/>
              <a:gd name="T42" fmla="*/ 294 w 314"/>
              <a:gd name="T43" fmla="*/ 206 h 284"/>
              <a:gd name="T44" fmla="*/ 264 w 314"/>
              <a:gd name="T45" fmla="*/ 178 h 284"/>
              <a:gd name="T46" fmla="*/ 274 w 314"/>
              <a:gd name="T47" fmla="*/ 152 h 284"/>
              <a:gd name="T48" fmla="*/ 296 w 314"/>
              <a:gd name="T49" fmla="*/ 154 h 284"/>
              <a:gd name="T50" fmla="*/ 268 w 314"/>
              <a:gd name="T51" fmla="*/ 82 h 284"/>
              <a:gd name="T52" fmla="*/ 204 w 314"/>
              <a:gd name="T53" fmla="*/ 214 h 284"/>
              <a:gd name="T54" fmla="*/ 136 w 314"/>
              <a:gd name="T55" fmla="*/ 88 h 284"/>
              <a:gd name="T56" fmla="*/ 160 w 314"/>
              <a:gd name="T57" fmla="*/ 104 h 284"/>
              <a:gd name="T58" fmla="*/ 200 w 314"/>
              <a:gd name="T59" fmla="*/ 96 h 284"/>
              <a:gd name="T60" fmla="*/ 222 w 314"/>
              <a:gd name="T61" fmla="*/ 110 h 284"/>
              <a:gd name="T62" fmla="*/ 168 w 314"/>
              <a:gd name="T63" fmla="*/ 112 h 284"/>
              <a:gd name="T64" fmla="*/ 184 w 314"/>
              <a:gd name="T65" fmla="*/ 114 h 284"/>
              <a:gd name="T66" fmla="*/ 216 w 314"/>
              <a:gd name="T67" fmla="*/ 102 h 284"/>
              <a:gd name="T68" fmla="*/ 168 w 314"/>
              <a:gd name="T69" fmla="*/ 96 h 284"/>
              <a:gd name="T70" fmla="*/ 94 w 314"/>
              <a:gd name="T71" fmla="*/ 114 h 284"/>
              <a:gd name="T72" fmla="*/ 86 w 314"/>
              <a:gd name="T73" fmla="*/ 96 h 284"/>
              <a:gd name="T74" fmla="*/ 122 w 314"/>
              <a:gd name="T75" fmla="*/ 198 h 284"/>
              <a:gd name="T76" fmla="*/ 236 w 314"/>
              <a:gd name="T77" fmla="*/ 118 h 284"/>
              <a:gd name="T78" fmla="*/ 228 w 314"/>
              <a:gd name="T79" fmla="*/ 64 h 284"/>
              <a:gd name="T80" fmla="*/ 218 w 314"/>
              <a:gd name="T81" fmla="*/ 68 h 284"/>
              <a:gd name="T82" fmla="*/ 200 w 314"/>
              <a:gd name="T83" fmla="*/ 36 h 284"/>
              <a:gd name="T84" fmla="*/ 188 w 314"/>
              <a:gd name="T85" fmla="*/ 64 h 284"/>
              <a:gd name="T86" fmla="*/ 168 w 314"/>
              <a:gd name="T87" fmla="*/ 58 h 284"/>
              <a:gd name="T88" fmla="*/ 150 w 314"/>
              <a:gd name="T89" fmla="*/ 90 h 284"/>
              <a:gd name="T90" fmla="*/ 146 w 314"/>
              <a:gd name="T91" fmla="*/ 36 h 284"/>
              <a:gd name="T92" fmla="*/ 126 w 314"/>
              <a:gd name="T93" fmla="*/ 40 h 284"/>
              <a:gd name="T94" fmla="*/ 74 w 314"/>
              <a:gd name="T95" fmla="*/ 54 h 284"/>
              <a:gd name="T96" fmla="*/ 48 w 314"/>
              <a:gd name="T97" fmla="*/ 84 h 284"/>
              <a:gd name="T98" fmla="*/ 56 w 314"/>
              <a:gd name="T99" fmla="*/ 228 h 284"/>
              <a:gd name="T100" fmla="*/ 80 w 314"/>
              <a:gd name="T101" fmla="*/ 240 h 284"/>
              <a:gd name="T102" fmla="*/ 98 w 314"/>
              <a:gd name="T103" fmla="*/ 278 h 284"/>
              <a:gd name="T104" fmla="*/ 100 w 314"/>
              <a:gd name="T105" fmla="*/ 256 h 284"/>
              <a:gd name="T106" fmla="*/ 166 w 314"/>
              <a:gd name="T107" fmla="*/ 226 h 284"/>
              <a:gd name="T108" fmla="*/ 194 w 314"/>
              <a:gd name="T109" fmla="*/ 202 h 284"/>
              <a:gd name="T110" fmla="*/ 214 w 314"/>
              <a:gd name="T111" fmla="*/ 202 h 284"/>
              <a:gd name="T112" fmla="*/ 220 w 314"/>
              <a:gd name="T113" fmla="*/ 202 h 284"/>
              <a:gd name="T114" fmla="*/ 232 w 314"/>
              <a:gd name="T115" fmla="*/ 238 h 284"/>
              <a:gd name="T116" fmla="*/ 280 w 314"/>
              <a:gd name="T117" fmla="*/ 230 h 284"/>
              <a:gd name="T118" fmla="*/ 254 w 314"/>
              <a:gd name="T119" fmla="*/ 220 h 284"/>
              <a:gd name="T120" fmla="*/ 266 w 314"/>
              <a:gd name="T121" fmla="*/ 202 h 284"/>
              <a:gd name="T122" fmla="*/ 298 w 314"/>
              <a:gd name="T123" fmla="*/ 132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4" h="284">
                <a:moveTo>
                  <a:pt x="314" y="126"/>
                </a:moveTo>
                <a:lnTo>
                  <a:pt x="314" y="126"/>
                </a:lnTo>
                <a:lnTo>
                  <a:pt x="312" y="124"/>
                </a:lnTo>
                <a:lnTo>
                  <a:pt x="310" y="122"/>
                </a:lnTo>
                <a:lnTo>
                  <a:pt x="306" y="120"/>
                </a:lnTo>
                <a:lnTo>
                  <a:pt x="306" y="120"/>
                </a:lnTo>
                <a:lnTo>
                  <a:pt x="306" y="116"/>
                </a:lnTo>
                <a:lnTo>
                  <a:pt x="306" y="114"/>
                </a:lnTo>
                <a:lnTo>
                  <a:pt x="306" y="114"/>
                </a:lnTo>
                <a:lnTo>
                  <a:pt x="296" y="116"/>
                </a:lnTo>
                <a:lnTo>
                  <a:pt x="290" y="120"/>
                </a:lnTo>
                <a:lnTo>
                  <a:pt x="290" y="120"/>
                </a:lnTo>
                <a:lnTo>
                  <a:pt x="292" y="122"/>
                </a:lnTo>
                <a:lnTo>
                  <a:pt x="292" y="124"/>
                </a:lnTo>
                <a:lnTo>
                  <a:pt x="292" y="124"/>
                </a:lnTo>
                <a:lnTo>
                  <a:pt x="290" y="126"/>
                </a:lnTo>
                <a:lnTo>
                  <a:pt x="288" y="128"/>
                </a:lnTo>
                <a:lnTo>
                  <a:pt x="288" y="128"/>
                </a:lnTo>
                <a:lnTo>
                  <a:pt x="282" y="128"/>
                </a:lnTo>
                <a:lnTo>
                  <a:pt x="280" y="130"/>
                </a:lnTo>
                <a:lnTo>
                  <a:pt x="280" y="130"/>
                </a:lnTo>
                <a:lnTo>
                  <a:pt x="282" y="130"/>
                </a:lnTo>
                <a:lnTo>
                  <a:pt x="284" y="132"/>
                </a:lnTo>
                <a:lnTo>
                  <a:pt x="284" y="132"/>
                </a:lnTo>
                <a:lnTo>
                  <a:pt x="286" y="132"/>
                </a:lnTo>
                <a:lnTo>
                  <a:pt x="288" y="130"/>
                </a:lnTo>
                <a:lnTo>
                  <a:pt x="288" y="128"/>
                </a:lnTo>
                <a:lnTo>
                  <a:pt x="290" y="128"/>
                </a:lnTo>
                <a:lnTo>
                  <a:pt x="290" y="128"/>
                </a:lnTo>
                <a:lnTo>
                  <a:pt x="292" y="130"/>
                </a:lnTo>
                <a:lnTo>
                  <a:pt x="292" y="134"/>
                </a:lnTo>
                <a:lnTo>
                  <a:pt x="292" y="134"/>
                </a:lnTo>
                <a:lnTo>
                  <a:pt x="288" y="134"/>
                </a:lnTo>
                <a:lnTo>
                  <a:pt x="284" y="136"/>
                </a:lnTo>
                <a:lnTo>
                  <a:pt x="282" y="138"/>
                </a:lnTo>
                <a:lnTo>
                  <a:pt x="282" y="138"/>
                </a:lnTo>
                <a:lnTo>
                  <a:pt x="278" y="136"/>
                </a:lnTo>
                <a:lnTo>
                  <a:pt x="274" y="136"/>
                </a:lnTo>
                <a:lnTo>
                  <a:pt x="270" y="136"/>
                </a:lnTo>
                <a:lnTo>
                  <a:pt x="268" y="138"/>
                </a:lnTo>
                <a:lnTo>
                  <a:pt x="268" y="138"/>
                </a:lnTo>
                <a:lnTo>
                  <a:pt x="266" y="136"/>
                </a:lnTo>
                <a:lnTo>
                  <a:pt x="264" y="136"/>
                </a:lnTo>
                <a:lnTo>
                  <a:pt x="264" y="134"/>
                </a:lnTo>
                <a:lnTo>
                  <a:pt x="264" y="132"/>
                </a:lnTo>
                <a:lnTo>
                  <a:pt x="264" y="132"/>
                </a:lnTo>
                <a:lnTo>
                  <a:pt x="258" y="130"/>
                </a:lnTo>
                <a:lnTo>
                  <a:pt x="256" y="130"/>
                </a:lnTo>
                <a:lnTo>
                  <a:pt x="254" y="128"/>
                </a:lnTo>
                <a:lnTo>
                  <a:pt x="254" y="128"/>
                </a:lnTo>
                <a:lnTo>
                  <a:pt x="256" y="128"/>
                </a:lnTo>
                <a:lnTo>
                  <a:pt x="262" y="128"/>
                </a:lnTo>
                <a:lnTo>
                  <a:pt x="262" y="128"/>
                </a:lnTo>
                <a:lnTo>
                  <a:pt x="262" y="124"/>
                </a:lnTo>
                <a:lnTo>
                  <a:pt x="262" y="122"/>
                </a:lnTo>
                <a:lnTo>
                  <a:pt x="268" y="122"/>
                </a:lnTo>
                <a:lnTo>
                  <a:pt x="268" y="122"/>
                </a:lnTo>
                <a:lnTo>
                  <a:pt x="266" y="120"/>
                </a:lnTo>
                <a:lnTo>
                  <a:pt x="266" y="118"/>
                </a:lnTo>
                <a:lnTo>
                  <a:pt x="266" y="116"/>
                </a:lnTo>
                <a:lnTo>
                  <a:pt x="270" y="116"/>
                </a:lnTo>
                <a:lnTo>
                  <a:pt x="270" y="116"/>
                </a:lnTo>
                <a:lnTo>
                  <a:pt x="270" y="118"/>
                </a:lnTo>
                <a:lnTo>
                  <a:pt x="272" y="118"/>
                </a:lnTo>
                <a:lnTo>
                  <a:pt x="274" y="116"/>
                </a:lnTo>
                <a:lnTo>
                  <a:pt x="274" y="116"/>
                </a:lnTo>
                <a:lnTo>
                  <a:pt x="272" y="116"/>
                </a:lnTo>
                <a:lnTo>
                  <a:pt x="270" y="116"/>
                </a:lnTo>
                <a:lnTo>
                  <a:pt x="272" y="114"/>
                </a:lnTo>
                <a:lnTo>
                  <a:pt x="272" y="114"/>
                </a:lnTo>
                <a:lnTo>
                  <a:pt x="272" y="114"/>
                </a:lnTo>
                <a:lnTo>
                  <a:pt x="276" y="114"/>
                </a:lnTo>
                <a:lnTo>
                  <a:pt x="278" y="116"/>
                </a:lnTo>
                <a:lnTo>
                  <a:pt x="278" y="118"/>
                </a:lnTo>
                <a:lnTo>
                  <a:pt x="282" y="120"/>
                </a:lnTo>
                <a:lnTo>
                  <a:pt x="282" y="120"/>
                </a:lnTo>
                <a:lnTo>
                  <a:pt x="282" y="118"/>
                </a:lnTo>
                <a:lnTo>
                  <a:pt x="282" y="118"/>
                </a:lnTo>
                <a:lnTo>
                  <a:pt x="284" y="114"/>
                </a:lnTo>
                <a:lnTo>
                  <a:pt x="284" y="114"/>
                </a:lnTo>
                <a:lnTo>
                  <a:pt x="278" y="112"/>
                </a:lnTo>
                <a:lnTo>
                  <a:pt x="278" y="110"/>
                </a:lnTo>
                <a:lnTo>
                  <a:pt x="280" y="108"/>
                </a:lnTo>
                <a:lnTo>
                  <a:pt x="280" y="108"/>
                </a:lnTo>
                <a:lnTo>
                  <a:pt x="276" y="108"/>
                </a:lnTo>
                <a:lnTo>
                  <a:pt x="276" y="104"/>
                </a:lnTo>
                <a:lnTo>
                  <a:pt x="276" y="104"/>
                </a:lnTo>
                <a:lnTo>
                  <a:pt x="276" y="102"/>
                </a:lnTo>
                <a:lnTo>
                  <a:pt x="278" y="96"/>
                </a:lnTo>
                <a:lnTo>
                  <a:pt x="278" y="96"/>
                </a:lnTo>
                <a:lnTo>
                  <a:pt x="278" y="94"/>
                </a:lnTo>
                <a:lnTo>
                  <a:pt x="280" y="94"/>
                </a:lnTo>
                <a:lnTo>
                  <a:pt x="282" y="94"/>
                </a:lnTo>
                <a:lnTo>
                  <a:pt x="284" y="92"/>
                </a:lnTo>
                <a:lnTo>
                  <a:pt x="284" y="92"/>
                </a:lnTo>
                <a:lnTo>
                  <a:pt x="280" y="88"/>
                </a:lnTo>
                <a:lnTo>
                  <a:pt x="274" y="86"/>
                </a:lnTo>
                <a:lnTo>
                  <a:pt x="274" y="86"/>
                </a:lnTo>
                <a:lnTo>
                  <a:pt x="274" y="84"/>
                </a:lnTo>
                <a:lnTo>
                  <a:pt x="272" y="82"/>
                </a:lnTo>
                <a:lnTo>
                  <a:pt x="270" y="82"/>
                </a:lnTo>
                <a:lnTo>
                  <a:pt x="268" y="78"/>
                </a:lnTo>
                <a:lnTo>
                  <a:pt x="268" y="78"/>
                </a:lnTo>
                <a:lnTo>
                  <a:pt x="272" y="78"/>
                </a:lnTo>
                <a:lnTo>
                  <a:pt x="274" y="78"/>
                </a:lnTo>
                <a:lnTo>
                  <a:pt x="280" y="80"/>
                </a:lnTo>
                <a:lnTo>
                  <a:pt x="280" y="80"/>
                </a:lnTo>
                <a:lnTo>
                  <a:pt x="280" y="78"/>
                </a:lnTo>
                <a:lnTo>
                  <a:pt x="282" y="78"/>
                </a:lnTo>
                <a:lnTo>
                  <a:pt x="286" y="76"/>
                </a:lnTo>
                <a:lnTo>
                  <a:pt x="286" y="76"/>
                </a:lnTo>
                <a:lnTo>
                  <a:pt x="284" y="72"/>
                </a:lnTo>
                <a:lnTo>
                  <a:pt x="286" y="70"/>
                </a:lnTo>
                <a:lnTo>
                  <a:pt x="286" y="70"/>
                </a:lnTo>
                <a:lnTo>
                  <a:pt x="282" y="70"/>
                </a:lnTo>
                <a:lnTo>
                  <a:pt x="280" y="66"/>
                </a:lnTo>
                <a:lnTo>
                  <a:pt x="280" y="66"/>
                </a:lnTo>
                <a:lnTo>
                  <a:pt x="280" y="64"/>
                </a:lnTo>
                <a:lnTo>
                  <a:pt x="282" y="64"/>
                </a:lnTo>
                <a:lnTo>
                  <a:pt x="282" y="62"/>
                </a:lnTo>
                <a:lnTo>
                  <a:pt x="284" y="60"/>
                </a:lnTo>
                <a:lnTo>
                  <a:pt x="284" y="60"/>
                </a:lnTo>
                <a:lnTo>
                  <a:pt x="278" y="56"/>
                </a:lnTo>
                <a:lnTo>
                  <a:pt x="274" y="52"/>
                </a:lnTo>
                <a:lnTo>
                  <a:pt x="274" y="52"/>
                </a:lnTo>
                <a:lnTo>
                  <a:pt x="270" y="56"/>
                </a:lnTo>
                <a:lnTo>
                  <a:pt x="270" y="58"/>
                </a:lnTo>
                <a:lnTo>
                  <a:pt x="268" y="58"/>
                </a:lnTo>
                <a:lnTo>
                  <a:pt x="268" y="54"/>
                </a:lnTo>
                <a:lnTo>
                  <a:pt x="268" y="54"/>
                </a:lnTo>
                <a:lnTo>
                  <a:pt x="264" y="54"/>
                </a:lnTo>
                <a:lnTo>
                  <a:pt x="264" y="56"/>
                </a:lnTo>
                <a:lnTo>
                  <a:pt x="262" y="58"/>
                </a:lnTo>
                <a:lnTo>
                  <a:pt x="262" y="58"/>
                </a:lnTo>
                <a:lnTo>
                  <a:pt x="258" y="58"/>
                </a:lnTo>
                <a:lnTo>
                  <a:pt x="256" y="60"/>
                </a:lnTo>
                <a:lnTo>
                  <a:pt x="252" y="64"/>
                </a:lnTo>
                <a:lnTo>
                  <a:pt x="252" y="64"/>
                </a:lnTo>
                <a:lnTo>
                  <a:pt x="258" y="64"/>
                </a:lnTo>
                <a:lnTo>
                  <a:pt x="260" y="66"/>
                </a:lnTo>
                <a:lnTo>
                  <a:pt x="260" y="66"/>
                </a:lnTo>
                <a:lnTo>
                  <a:pt x="258" y="70"/>
                </a:lnTo>
                <a:lnTo>
                  <a:pt x="254" y="74"/>
                </a:lnTo>
                <a:lnTo>
                  <a:pt x="254" y="74"/>
                </a:lnTo>
                <a:lnTo>
                  <a:pt x="252" y="74"/>
                </a:lnTo>
                <a:lnTo>
                  <a:pt x="252" y="72"/>
                </a:lnTo>
                <a:lnTo>
                  <a:pt x="252" y="66"/>
                </a:lnTo>
                <a:lnTo>
                  <a:pt x="252" y="66"/>
                </a:lnTo>
                <a:lnTo>
                  <a:pt x="250" y="68"/>
                </a:lnTo>
                <a:lnTo>
                  <a:pt x="248" y="70"/>
                </a:lnTo>
                <a:lnTo>
                  <a:pt x="244" y="72"/>
                </a:lnTo>
                <a:lnTo>
                  <a:pt x="244" y="72"/>
                </a:lnTo>
                <a:lnTo>
                  <a:pt x="242" y="70"/>
                </a:lnTo>
                <a:lnTo>
                  <a:pt x="240" y="70"/>
                </a:lnTo>
                <a:lnTo>
                  <a:pt x="238" y="70"/>
                </a:lnTo>
                <a:lnTo>
                  <a:pt x="238" y="70"/>
                </a:lnTo>
                <a:lnTo>
                  <a:pt x="238" y="72"/>
                </a:lnTo>
                <a:lnTo>
                  <a:pt x="240" y="74"/>
                </a:lnTo>
                <a:lnTo>
                  <a:pt x="242" y="76"/>
                </a:lnTo>
                <a:lnTo>
                  <a:pt x="242" y="78"/>
                </a:lnTo>
                <a:lnTo>
                  <a:pt x="242" y="78"/>
                </a:lnTo>
                <a:lnTo>
                  <a:pt x="238" y="78"/>
                </a:lnTo>
                <a:lnTo>
                  <a:pt x="238" y="78"/>
                </a:lnTo>
                <a:lnTo>
                  <a:pt x="236" y="74"/>
                </a:lnTo>
                <a:lnTo>
                  <a:pt x="232" y="70"/>
                </a:lnTo>
                <a:lnTo>
                  <a:pt x="232" y="70"/>
                </a:lnTo>
                <a:lnTo>
                  <a:pt x="236" y="64"/>
                </a:lnTo>
                <a:lnTo>
                  <a:pt x="238" y="62"/>
                </a:lnTo>
                <a:lnTo>
                  <a:pt x="240" y="60"/>
                </a:lnTo>
                <a:lnTo>
                  <a:pt x="240" y="60"/>
                </a:lnTo>
                <a:lnTo>
                  <a:pt x="242" y="62"/>
                </a:lnTo>
                <a:lnTo>
                  <a:pt x="242" y="66"/>
                </a:lnTo>
                <a:lnTo>
                  <a:pt x="242" y="66"/>
                </a:lnTo>
                <a:lnTo>
                  <a:pt x="246" y="66"/>
                </a:lnTo>
                <a:lnTo>
                  <a:pt x="248" y="64"/>
                </a:lnTo>
                <a:lnTo>
                  <a:pt x="248" y="64"/>
                </a:lnTo>
                <a:lnTo>
                  <a:pt x="244" y="58"/>
                </a:lnTo>
                <a:lnTo>
                  <a:pt x="238" y="52"/>
                </a:lnTo>
                <a:lnTo>
                  <a:pt x="238" y="52"/>
                </a:lnTo>
                <a:lnTo>
                  <a:pt x="236" y="48"/>
                </a:lnTo>
                <a:lnTo>
                  <a:pt x="234" y="46"/>
                </a:lnTo>
                <a:lnTo>
                  <a:pt x="230" y="46"/>
                </a:lnTo>
                <a:lnTo>
                  <a:pt x="230" y="46"/>
                </a:lnTo>
                <a:lnTo>
                  <a:pt x="230" y="48"/>
                </a:lnTo>
                <a:lnTo>
                  <a:pt x="232" y="50"/>
                </a:lnTo>
                <a:lnTo>
                  <a:pt x="232" y="52"/>
                </a:lnTo>
                <a:lnTo>
                  <a:pt x="230" y="54"/>
                </a:lnTo>
                <a:lnTo>
                  <a:pt x="230" y="54"/>
                </a:lnTo>
                <a:lnTo>
                  <a:pt x="228" y="52"/>
                </a:lnTo>
                <a:lnTo>
                  <a:pt x="226" y="50"/>
                </a:lnTo>
                <a:lnTo>
                  <a:pt x="224" y="44"/>
                </a:lnTo>
                <a:lnTo>
                  <a:pt x="224" y="44"/>
                </a:lnTo>
                <a:lnTo>
                  <a:pt x="220" y="44"/>
                </a:lnTo>
                <a:lnTo>
                  <a:pt x="216" y="46"/>
                </a:lnTo>
                <a:lnTo>
                  <a:pt x="212" y="46"/>
                </a:lnTo>
                <a:lnTo>
                  <a:pt x="208" y="44"/>
                </a:lnTo>
                <a:lnTo>
                  <a:pt x="208" y="44"/>
                </a:lnTo>
                <a:lnTo>
                  <a:pt x="212" y="42"/>
                </a:lnTo>
                <a:lnTo>
                  <a:pt x="218" y="42"/>
                </a:lnTo>
                <a:lnTo>
                  <a:pt x="218" y="42"/>
                </a:lnTo>
                <a:lnTo>
                  <a:pt x="220" y="40"/>
                </a:lnTo>
                <a:lnTo>
                  <a:pt x="220" y="38"/>
                </a:lnTo>
                <a:lnTo>
                  <a:pt x="222" y="38"/>
                </a:lnTo>
                <a:lnTo>
                  <a:pt x="222" y="38"/>
                </a:lnTo>
                <a:lnTo>
                  <a:pt x="226" y="42"/>
                </a:lnTo>
                <a:lnTo>
                  <a:pt x="230" y="44"/>
                </a:lnTo>
                <a:lnTo>
                  <a:pt x="230" y="44"/>
                </a:lnTo>
                <a:lnTo>
                  <a:pt x="232" y="40"/>
                </a:lnTo>
                <a:lnTo>
                  <a:pt x="232" y="40"/>
                </a:lnTo>
                <a:lnTo>
                  <a:pt x="228" y="40"/>
                </a:lnTo>
                <a:lnTo>
                  <a:pt x="228" y="38"/>
                </a:lnTo>
                <a:lnTo>
                  <a:pt x="230" y="34"/>
                </a:lnTo>
                <a:lnTo>
                  <a:pt x="230" y="34"/>
                </a:lnTo>
                <a:lnTo>
                  <a:pt x="226" y="32"/>
                </a:lnTo>
                <a:lnTo>
                  <a:pt x="224" y="30"/>
                </a:lnTo>
                <a:lnTo>
                  <a:pt x="224" y="30"/>
                </a:lnTo>
                <a:lnTo>
                  <a:pt x="224" y="30"/>
                </a:lnTo>
                <a:lnTo>
                  <a:pt x="226" y="28"/>
                </a:lnTo>
                <a:lnTo>
                  <a:pt x="228" y="28"/>
                </a:lnTo>
                <a:lnTo>
                  <a:pt x="228" y="26"/>
                </a:lnTo>
                <a:lnTo>
                  <a:pt x="228" y="26"/>
                </a:lnTo>
                <a:lnTo>
                  <a:pt x="22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6"/>
                </a:lnTo>
                <a:lnTo>
                  <a:pt x="222" y="28"/>
                </a:lnTo>
                <a:lnTo>
                  <a:pt x="222" y="30"/>
                </a:lnTo>
                <a:lnTo>
                  <a:pt x="220" y="30"/>
                </a:lnTo>
                <a:lnTo>
                  <a:pt x="220" y="30"/>
                </a:lnTo>
                <a:lnTo>
                  <a:pt x="218" y="30"/>
                </a:lnTo>
                <a:lnTo>
                  <a:pt x="214" y="28"/>
                </a:lnTo>
                <a:lnTo>
                  <a:pt x="210" y="22"/>
                </a:lnTo>
                <a:lnTo>
                  <a:pt x="204" y="22"/>
                </a:lnTo>
                <a:lnTo>
                  <a:pt x="204" y="22"/>
                </a:lnTo>
                <a:lnTo>
                  <a:pt x="202" y="26"/>
                </a:lnTo>
                <a:lnTo>
                  <a:pt x="202" y="26"/>
                </a:lnTo>
                <a:lnTo>
                  <a:pt x="200" y="26"/>
                </a:lnTo>
                <a:lnTo>
                  <a:pt x="200" y="26"/>
                </a:lnTo>
                <a:lnTo>
                  <a:pt x="194" y="24"/>
                </a:lnTo>
                <a:lnTo>
                  <a:pt x="192" y="18"/>
                </a:lnTo>
                <a:lnTo>
                  <a:pt x="192" y="18"/>
                </a:lnTo>
                <a:lnTo>
                  <a:pt x="194" y="16"/>
                </a:lnTo>
                <a:lnTo>
                  <a:pt x="194" y="12"/>
                </a:lnTo>
                <a:lnTo>
                  <a:pt x="194" y="12"/>
                </a:lnTo>
                <a:lnTo>
                  <a:pt x="188" y="10"/>
                </a:lnTo>
                <a:lnTo>
                  <a:pt x="188" y="10"/>
                </a:lnTo>
                <a:lnTo>
                  <a:pt x="190" y="12"/>
                </a:lnTo>
                <a:lnTo>
                  <a:pt x="190" y="14"/>
                </a:lnTo>
                <a:lnTo>
                  <a:pt x="190" y="14"/>
                </a:lnTo>
                <a:lnTo>
                  <a:pt x="188" y="16"/>
                </a:lnTo>
                <a:lnTo>
                  <a:pt x="184" y="18"/>
                </a:lnTo>
                <a:lnTo>
                  <a:pt x="184" y="18"/>
                </a:lnTo>
                <a:lnTo>
                  <a:pt x="182" y="16"/>
                </a:lnTo>
                <a:lnTo>
                  <a:pt x="178" y="14"/>
                </a:lnTo>
                <a:lnTo>
                  <a:pt x="178" y="14"/>
                </a:lnTo>
                <a:lnTo>
                  <a:pt x="178" y="14"/>
                </a:lnTo>
                <a:lnTo>
                  <a:pt x="176" y="14"/>
                </a:lnTo>
                <a:lnTo>
                  <a:pt x="174" y="14"/>
                </a:lnTo>
                <a:lnTo>
                  <a:pt x="174" y="16"/>
                </a:lnTo>
                <a:lnTo>
                  <a:pt x="174" y="16"/>
                </a:lnTo>
                <a:lnTo>
                  <a:pt x="178" y="18"/>
                </a:lnTo>
                <a:lnTo>
                  <a:pt x="178" y="20"/>
                </a:lnTo>
                <a:lnTo>
                  <a:pt x="178" y="22"/>
                </a:lnTo>
                <a:lnTo>
                  <a:pt x="178" y="22"/>
                </a:lnTo>
                <a:lnTo>
                  <a:pt x="170" y="20"/>
                </a:lnTo>
                <a:lnTo>
                  <a:pt x="170" y="20"/>
                </a:lnTo>
                <a:lnTo>
                  <a:pt x="170" y="18"/>
                </a:lnTo>
                <a:lnTo>
                  <a:pt x="170" y="16"/>
                </a:lnTo>
                <a:lnTo>
                  <a:pt x="168" y="14"/>
                </a:lnTo>
                <a:lnTo>
                  <a:pt x="168" y="12"/>
                </a:lnTo>
                <a:lnTo>
                  <a:pt x="168" y="12"/>
                </a:lnTo>
                <a:lnTo>
                  <a:pt x="168" y="10"/>
                </a:lnTo>
                <a:lnTo>
                  <a:pt x="170" y="10"/>
                </a:lnTo>
                <a:lnTo>
                  <a:pt x="170" y="10"/>
                </a:lnTo>
                <a:lnTo>
                  <a:pt x="174" y="12"/>
                </a:lnTo>
                <a:lnTo>
                  <a:pt x="174" y="12"/>
                </a:lnTo>
                <a:lnTo>
                  <a:pt x="176" y="10"/>
                </a:lnTo>
                <a:lnTo>
                  <a:pt x="176" y="10"/>
                </a:lnTo>
                <a:lnTo>
                  <a:pt x="176" y="8"/>
                </a:lnTo>
                <a:lnTo>
                  <a:pt x="172" y="6"/>
                </a:lnTo>
                <a:lnTo>
                  <a:pt x="172" y="6"/>
                </a:lnTo>
                <a:lnTo>
                  <a:pt x="170" y="6"/>
                </a:lnTo>
                <a:lnTo>
                  <a:pt x="168" y="8"/>
                </a:lnTo>
                <a:lnTo>
                  <a:pt x="168" y="8"/>
                </a:lnTo>
                <a:lnTo>
                  <a:pt x="166" y="8"/>
                </a:lnTo>
                <a:lnTo>
                  <a:pt x="166" y="8"/>
                </a:lnTo>
                <a:lnTo>
                  <a:pt x="166" y="4"/>
                </a:lnTo>
                <a:lnTo>
                  <a:pt x="166" y="0"/>
                </a:lnTo>
                <a:lnTo>
                  <a:pt x="166" y="0"/>
                </a:lnTo>
                <a:lnTo>
                  <a:pt x="162" y="2"/>
                </a:lnTo>
                <a:lnTo>
                  <a:pt x="158" y="4"/>
                </a:lnTo>
                <a:lnTo>
                  <a:pt x="158" y="4"/>
                </a:lnTo>
                <a:lnTo>
                  <a:pt x="152" y="4"/>
                </a:lnTo>
                <a:lnTo>
                  <a:pt x="152" y="4"/>
                </a:lnTo>
                <a:lnTo>
                  <a:pt x="148" y="6"/>
                </a:lnTo>
                <a:lnTo>
                  <a:pt x="148" y="6"/>
                </a:lnTo>
                <a:lnTo>
                  <a:pt x="146" y="6"/>
                </a:lnTo>
                <a:lnTo>
                  <a:pt x="144" y="6"/>
                </a:lnTo>
                <a:lnTo>
                  <a:pt x="144" y="6"/>
                </a:lnTo>
                <a:lnTo>
                  <a:pt x="144" y="10"/>
                </a:lnTo>
                <a:lnTo>
                  <a:pt x="142" y="12"/>
                </a:lnTo>
                <a:lnTo>
                  <a:pt x="140" y="14"/>
                </a:lnTo>
                <a:lnTo>
                  <a:pt x="140" y="14"/>
                </a:lnTo>
                <a:lnTo>
                  <a:pt x="136" y="10"/>
                </a:lnTo>
                <a:lnTo>
                  <a:pt x="130" y="8"/>
                </a:lnTo>
                <a:lnTo>
                  <a:pt x="130" y="8"/>
                </a:lnTo>
                <a:lnTo>
                  <a:pt x="128" y="4"/>
                </a:lnTo>
                <a:lnTo>
                  <a:pt x="126" y="4"/>
                </a:lnTo>
                <a:lnTo>
                  <a:pt x="124" y="2"/>
                </a:lnTo>
                <a:lnTo>
                  <a:pt x="124" y="2"/>
                </a:lnTo>
                <a:lnTo>
                  <a:pt x="124" y="8"/>
                </a:lnTo>
                <a:lnTo>
                  <a:pt x="128" y="14"/>
                </a:lnTo>
                <a:lnTo>
                  <a:pt x="130" y="18"/>
                </a:lnTo>
                <a:lnTo>
                  <a:pt x="128" y="22"/>
                </a:lnTo>
                <a:lnTo>
                  <a:pt x="126" y="24"/>
                </a:lnTo>
                <a:lnTo>
                  <a:pt x="126" y="24"/>
                </a:lnTo>
                <a:lnTo>
                  <a:pt x="124" y="22"/>
                </a:lnTo>
                <a:lnTo>
                  <a:pt x="122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18"/>
                </a:lnTo>
                <a:lnTo>
                  <a:pt x="118" y="14"/>
                </a:lnTo>
                <a:lnTo>
                  <a:pt x="118" y="14"/>
                </a:lnTo>
                <a:lnTo>
                  <a:pt x="116" y="14"/>
                </a:lnTo>
                <a:lnTo>
                  <a:pt x="112" y="14"/>
                </a:lnTo>
                <a:lnTo>
                  <a:pt x="110" y="12"/>
                </a:lnTo>
                <a:lnTo>
                  <a:pt x="108" y="14"/>
                </a:lnTo>
                <a:lnTo>
                  <a:pt x="108" y="14"/>
                </a:lnTo>
                <a:lnTo>
                  <a:pt x="106" y="12"/>
                </a:lnTo>
                <a:lnTo>
                  <a:pt x="104" y="10"/>
                </a:lnTo>
                <a:lnTo>
                  <a:pt x="102" y="12"/>
                </a:lnTo>
                <a:lnTo>
                  <a:pt x="102" y="12"/>
                </a:lnTo>
                <a:lnTo>
                  <a:pt x="106" y="16"/>
                </a:lnTo>
                <a:lnTo>
                  <a:pt x="108" y="22"/>
                </a:lnTo>
                <a:lnTo>
                  <a:pt x="108" y="22"/>
                </a:lnTo>
                <a:lnTo>
                  <a:pt x="110" y="22"/>
                </a:lnTo>
                <a:lnTo>
                  <a:pt x="112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6"/>
                </a:lnTo>
                <a:lnTo>
                  <a:pt x="112" y="26"/>
                </a:lnTo>
                <a:lnTo>
                  <a:pt x="110" y="26"/>
                </a:lnTo>
                <a:lnTo>
                  <a:pt x="110" y="28"/>
                </a:lnTo>
                <a:lnTo>
                  <a:pt x="110" y="28"/>
                </a:lnTo>
                <a:lnTo>
                  <a:pt x="112" y="32"/>
                </a:lnTo>
                <a:lnTo>
                  <a:pt x="116" y="30"/>
                </a:lnTo>
                <a:lnTo>
                  <a:pt x="120" y="30"/>
                </a:lnTo>
                <a:lnTo>
                  <a:pt x="122" y="30"/>
                </a:lnTo>
                <a:lnTo>
                  <a:pt x="122" y="30"/>
                </a:lnTo>
                <a:lnTo>
                  <a:pt x="122" y="32"/>
                </a:lnTo>
                <a:lnTo>
                  <a:pt x="122" y="34"/>
                </a:lnTo>
                <a:lnTo>
                  <a:pt x="118" y="34"/>
                </a:lnTo>
                <a:lnTo>
                  <a:pt x="114" y="34"/>
                </a:lnTo>
                <a:lnTo>
                  <a:pt x="112" y="34"/>
                </a:lnTo>
                <a:lnTo>
                  <a:pt x="112" y="36"/>
                </a:lnTo>
                <a:lnTo>
                  <a:pt x="112" y="36"/>
                </a:lnTo>
                <a:lnTo>
                  <a:pt x="114" y="36"/>
                </a:lnTo>
                <a:lnTo>
                  <a:pt x="116" y="38"/>
                </a:lnTo>
                <a:lnTo>
                  <a:pt x="116" y="38"/>
                </a:lnTo>
                <a:lnTo>
                  <a:pt x="116" y="40"/>
                </a:lnTo>
                <a:lnTo>
                  <a:pt x="118" y="42"/>
                </a:lnTo>
                <a:lnTo>
                  <a:pt x="120" y="46"/>
                </a:lnTo>
                <a:lnTo>
                  <a:pt x="120" y="46"/>
                </a:lnTo>
                <a:lnTo>
                  <a:pt x="118" y="48"/>
                </a:lnTo>
                <a:lnTo>
                  <a:pt x="116" y="50"/>
                </a:lnTo>
                <a:lnTo>
                  <a:pt x="116" y="50"/>
                </a:lnTo>
                <a:lnTo>
                  <a:pt x="114" y="48"/>
                </a:lnTo>
                <a:lnTo>
                  <a:pt x="112" y="48"/>
                </a:lnTo>
                <a:lnTo>
                  <a:pt x="108" y="50"/>
                </a:lnTo>
                <a:lnTo>
                  <a:pt x="108" y="50"/>
                </a:lnTo>
                <a:lnTo>
                  <a:pt x="108" y="48"/>
                </a:lnTo>
                <a:lnTo>
                  <a:pt x="108" y="46"/>
                </a:lnTo>
                <a:lnTo>
                  <a:pt x="108" y="46"/>
                </a:lnTo>
                <a:lnTo>
                  <a:pt x="104" y="44"/>
                </a:lnTo>
                <a:lnTo>
                  <a:pt x="102" y="40"/>
                </a:lnTo>
                <a:lnTo>
                  <a:pt x="102" y="40"/>
                </a:lnTo>
                <a:lnTo>
                  <a:pt x="102" y="38"/>
                </a:lnTo>
                <a:lnTo>
                  <a:pt x="102" y="36"/>
                </a:lnTo>
                <a:lnTo>
                  <a:pt x="102" y="36"/>
                </a:lnTo>
                <a:lnTo>
                  <a:pt x="100" y="34"/>
                </a:lnTo>
                <a:lnTo>
                  <a:pt x="98" y="32"/>
                </a:lnTo>
                <a:lnTo>
                  <a:pt x="98" y="32"/>
                </a:lnTo>
                <a:lnTo>
                  <a:pt x="98" y="30"/>
                </a:lnTo>
                <a:lnTo>
                  <a:pt x="98" y="30"/>
                </a:lnTo>
                <a:lnTo>
                  <a:pt x="104" y="30"/>
                </a:lnTo>
                <a:lnTo>
                  <a:pt x="108" y="28"/>
                </a:lnTo>
                <a:lnTo>
                  <a:pt x="108" y="26"/>
                </a:lnTo>
                <a:lnTo>
                  <a:pt x="108" y="26"/>
                </a:lnTo>
                <a:lnTo>
                  <a:pt x="106" y="24"/>
                </a:lnTo>
                <a:lnTo>
                  <a:pt x="104" y="24"/>
                </a:lnTo>
                <a:lnTo>
                  <a:pt x="100" y="26"/>
                </a:lnTo>
                <a:lnTo>
                  <a:pt x="100" y="26"/>
                </a:lnTo>
                <a:lnTo>
                  <a:pt x="98" y="24"/>
                </a:lnTo>
                <a:lnTo>
                  <a:pt x="94" y="22"/>
                </a:lnTo>
                <a:lnTo>
                  <a:pt x="90" y="22"/>
                </a:lnTo>
                <a:lnTo>
                  <a:pt x="86" y="24"/>
                </a:lnTo>
                <a:lnTo>
                  <a:pt x="86" y="24"/>
                </a:lnTo>
                <a:lnTo>
                  <a:pt x="86" y="28"/>
                </a:lnTo>
                <a:lnTo>
                  <a:pt x="88" y="32"/>
                </a:lnTo>
                <a:lnTo>
                  <a:pt x="88" y="32"/>
                </a:lnTo>
                <a:lnTo>
                  <a:pt x="84" y="34"/>
                </a:lnTo>
                <a:lnTo>
                  <a:pt x="80" y="34"/>
                </a:lnTo>
                <a:lnTo>
                  <a:pt x="80" y="34"/>
                </a:lnTo>
                <a:lnTo>
                  <a:pt x="80" y="40"/>
                </a:lnTo>
                <a:lnTo>
                  <a:pt x="76" y="42"/>
                </a:lnTo>
                <a:lnTo>
                  <a:pt x="76" y="42"/>
                </a:lnTo>
                <a:lnTo>
                  <a:pt x="76" y="48"/>
                </a:lnTo>
                <a:lnTo>
                  <a:pt x="74" y="50"/>
                </a:lnTo>
                <a:lnTo>
                  <a:pt x="74" y="50"/>
                </a:lnTo>
                <a:lnTo>
                  <a:pt x="70" y="50"/>
                </a:lnTo>
                <a:lnTo>
                  <a:pt x="68" y="48"/>
                </a:lnTo>
                <a:lnTo>
                  <a:pt x="68" y="48"/>
                </a:lnTo>
                <a:lnTo>
                  <a:pt x="66" y="56"/>
                </a:lnTo>
                <a:lnTo>
                  <a:pt x="64" y="58"/>
                </a:lnTo>
                <a:lnTo>
                  <a:pt x="62" y="58"/>
                </a:lnTo>
                <a:lnTo>
                  <a:pt x="62" y="58"/>
                </a:lnTo>
                <a:lnTo>
                  <a:pt x="62" y="60"/>
                </a:lnTo>
                <a:lnTo>
                  <a:pt x="62" y="62"/>
                </a:lnTo>
                <a:lnTo>
                  <a:pt x="64" y="62"/>
                </a:lnTo>
                <a:lnTo>
                  <a:pt x="64" y="64"/>
                </a:lnTo>
                <a:lnTo>
                  <a:pt x="64" y="64"/>
                </a:lnTo>
                <a:lnTo>
                  <a:pt x="62" y="66"/>
                </a:lnTo>
                <a:lnTo>
                  <a:pt x="56" y="68"/>
                </a:lnTo>
                <a:lnTo>
                  <a:pt x="52" y="68"/>
                </a:lnTo>
                <a:lnTo>
                  <a:pt x="50" y="64"/>
                </a:lnTo>
                <a:lnTo>
                  <a:pt x="50" y="64"/>
                </a:lnTo>
                <a:lnTo>
                  <a:pt x="50" y="70"/>
                </a:lnTo>
                <a:lnTo>
                  <a:pt x="48" y="72"/>
                </a:lnTo>
                <a:lnTo>
                  <a:pt x="48" y="72"/>
                </a:lnTo>
                <a:lnTo>
                  <a:pt x="54" y="76"/>
                </a:lnTo>
                <a:lnTo>
                  <a:pt x="56" y="76"/>
                </a:lnTo>
                <a:lnTo>
                  <a:pt x="56" y="80"/>
                </a:lnTo>
                <a:lnTo>
                  <a:pt x="56" y="80"/>
                </a:lnTo>
                <a:lnTo>
                  <a:pt x="54" y="82"/>
                </a:lnTo>
                <a:lnTo>
                  <a:pt x="54" y="82"/>
                </a:lnTo>
                <a:lnTo>
                  <a:pt x="52" y="82"/>
                </a:lnTo>
                <a:lnTo>
                  <a:pt x="50" y="80"/>
                </a:lnTo>
                <a:lnTo>
                  <a:pt x="48" y="78"/>
                </a:lnTo>
                <a:lnTo>
                  <a:pt x="46" y="78"/>
                </a:lnTo>
                <a:lnTo>
                  <a:pt x="46" y="78"/>
                </a:lnTo>
                <a:lnTo>
                  <a:pt x="44" y="80"/>
                </a:lnTo>
                <a:lnTo>
                  <a:pt x="42" y="80"/>
                </a:lnTo>
                <a:lnTo>
                  <a:pt x="36" y="78"/>
                </a:lnTo>
                <a:lnTo>
                  <a:pt x="36" y="78"/>
                </a:lnTo>
                <a:lnTo>
                  <a:pt x="34" y="84"/>
                </a:lnTo>
                <a:lnTo>
                  <a:pt x="34" y="84"/>
                </a:lnTo>
                <a:lnTo>
                  <a:pt x="36" y="86"/>
                </a:lnTo>
                <a:lnTo>
                  <a:pt x="36" y="88"/>
                </a:lnTo>
                <a:lnTo>
                  <a:pt x="36" y="88"/>
                </a:lnTo>
                <a:lnTo>
                  <a:pt x="34" y="90"/>
                </a:lnTo>
                <a:lnTo>
                  <a:pt x="34" y="90"/>
                </a:lnTo>
                <a:lnTo>
                  <a:pt x="34" y="92"/>
                </a:lnTo>
                <a:lnTo>
                  <a:pt x="34" y="92"/>
                </a:lnTo>
                <a:lnTo>
                  <a:pt x="36" y="94"/>
                </a:lnTo>
                <a:lnTo>
                  <a:pt x="40" y="96"/>
                </a:lnTo>
                <a:lnTo>
                  <a:pt x="40" y="96"/>
                </a:lnTo>
                <a:lnTo>
                  <a:pt x="36" y="98"/>
                </a:lnTo>
                <a:lnTo>
                  <a:pt x="34" y="100"/>
                </a:lnTo>
                <a:lnTo>
                  <a:pt x="32" y="108"/>
                </a:lnTo>
                <a:lnTo>
                  <a:pt x="30" y="116"/>
                </a:lnTo>
                <a:lnTo>
                  <a:pt x="28" y="124"/>
                </a:lnTo>
                <a:lnTo>
                  <a:pt x="28" y="124"/>
                </a:lnTo>
                <a:lnTo>
                  <a:pt x="30" y="128"/>
                </a:lnTo>
                <a:lnTo>
                  <a:pt x="30" y="132"/>
                </a:lnTo>
                <a:lnTo>
                  <a:pt x="28" y="142"/>
                </a:lnTo>
                <a:lnTo>
                  <a:pt x="28" y="142"/>
                </a:lnTo>
                <a:lnTo>
                  <a:pt x="26" y="144"/>
                </a:lnTo>
                <a:lnTo>
                  <a:pt x="24" y="144"/>
                </a:lnTo>
                <a:lnTo>
                  <a:pt x="24" y="144"/>
                </a:lnTo>
                <a:lnTo>
                  <a:pt x="26" y="146"/>
                </a:lnTo>
                <a:lnTo>
                  <a:pt x="28" y="148"/>
                </a:lnTo>
                <a:lnTo>
                  <a:pt x="28" y="148"/>
                </a:lnTo>
                <a:lnTo>
                  <a:pt x="16" y="152"/>
                </a:lnTo>
                <a:lnTo>
                  <a:pt x="16" y="160"/>
                </a:lnTo>
                <a:lnTo>
                  <a:pt x="16" y="160"/>
                </a:lnTo>
                <a:lnTo>
                  <a:pt x="20" y="160"/>
                </a:lnTo>
                <a:lnTo>
                  <a:pt x="22" y="158"/>
                </a:lnTo>
                <a:lnTo>
                  <a:pt x="24" y="154"/>
                </a:lnTo>
                <a:lnTo>
                  <a:pt x="24" y="154"/>
                </a:lnTo>
                <a:lnTo>
                  <a:pt x="26" y="156"/>
                </a:lnTo>
                <a:lnTo>
                  <a:pt x="26" y="156"/>
                </a:lnTo>
                <a:lnTo>
                  <a:pt x="26" y="158"/>
                </a:lnTo>
                <a:lnTo>
                  <a:pt x="26" y="158"/>
                </a:lnTo>
                <a:lnTo>
                  <a:pt x="30" y="158"/>
                </a:lnTo>
                <a:lnTo>
                  <a:pt x="32" y="158"/>
                </a:lnTo>
                <a:lnTo>
                  <a:pt x="32" y="158"/>
                </a:lnTo>
                <a:lnTo>
                  <a:pt x="32" y="160"/>
                </a:lnTo>
                <a:lnTo>
                  <a:pt x="34" y="162"/>
                </a:lnTo>
                <a:lnTo>
                  <a:pt x="40" y="162"/>
                </a:lnTo>
                <a:lnTo>
                  <a:pt x="40" y="162"/>
                </a:lnTo>
                <a:lnTo>
                  <a:pt x="40" y="164"/>
                </a:lnTo>
                <a:lnTo>
                  <a:pt x="40" y="164"/>
                </a:lnTo>
                <a:lnTo>
                  <a:pt x="38" y="164"/>
                </a:lnTo>
                <a:lnTo>
                  <a:pt x="38" y="164"/>
                </a:lnTo>
                <a:lnTo>
                  <a:pt x="36" y="164"/>
                </a:lnTo>
                <a:lnTo>
                  <a:pt x="34" y="164"/>
                </a:lnTo>
                <a:lnTo>
                  <a:pt x="32" y="162"/>
                </a:lnTo>
                <a:lnTo>
                  <a:pt x="30" y="160"/>
                </a:lnTo>
                <a:lnTo>
                  <a:pt x="30" y="160"/>
                </a:lnTo>
                <a:lnTo>
                  <a:pt x="28" y="162"/>
                </a:lnTo>
                <a:lnTo>
                  <a:pt x="26" y="162"/>
                </a:lnTo>
                <a:lnTo>
                  <a:pt x="20" y="160"/>
                </a:lnTo>
                <a:lnTo>
                  <a:pt x="20" y="160"/>
                </a:lnTo>
                <a:lnTo>
                  <a:pt x="18" y="166"/>
                </a:lnTo>
                <a:lnTo>
                  <a:pt x="18" y="166"/>
                </a:lnTo>
                <a:lnTo>
                  <a:pt x="20" y="168"/>
                </a:lnTo>
                <a:lnTo>
                  <a:pt x="20" y="172"/>
                </a:lnTo>
                <a:lnTo>
                  <a:pt x="20" y="172"/>
                </a:lnTo>
                <a:lnTo>
                  <a:pt x="18" y="174"/>
                </a:lnTo>
                <a:lnTo>
                  <a:pt x="18" y="174"/>
                </a:lnTo>
                <a:lnTo>
                  <a:pt x="18" y="176"/>
                </a:lnTo>
                <a:lnTo>
                  <a:pt x="18" y="176"/>
                </a:lnTo>
                <a:lnTo>
                  <a:pt x="20" y="178"/>
                </a:lnTo>
                <a:lnTo>
                  <a:pt x="24" y="180"/>
                </a:lnTo>
                <a:lnTo>
                  <a:pt x="24" y="180"/>
                </a:lnTo>
                <a:lnTo>
                  <a:pt x="20" y="182"/>
                </a:lnTo>
                <a:lnTo>
                  <a:pt x="18" y="184"/>
                </a:lnTo>
                <a:lnTo>
                  <a:pt x="16" y="192"/>
                </a:lnTo>
                <a:lnTo>
                  <a:pt x="14" y="200"/>
                </a:lnTo>
                <a:lnTo>
                  <a:pt x="12" y="206"/>
                </a:lnTo>
                <a:lnTo>
                  <a:pt x="12" y="206"/>
                </a:lnTo>
                <a:lnTo>
                  <a:pt x="14" y="212"/>
                </a:lnTo>
                <a:lnTo>
                  <a:pt x="14" y="216"/>
                </a:lnTo>
                <a:lnTo>
                  <a:pt x="12" y="226"/>
                </a:lnTo>
                <a:lnTo>
                  <a:pt x="12" y="226"/>
                </a:lnTo>
                <a:lnTo>
                  <a:pt x="10" y="226"/>
                </a:lnTo>
                <a:lnTo>
                  <a:pt x="8" y="228"/>
                </a:lnTo>
                <a:lnTo>
                  <a:pt x="8" y="228"/>
                </a:lnTo>
                <a:lnTo>
                  <a:pt x="10" y="228"/>
                </a:lnTo>
                <a:lnTo>
                  <a:pt x="12" y="230"/>
                </a:lnTo>
                <a:lnTo>
                  <a:pt x="12" y="230"/>
                </a:lnTo>
                <a:lnTo>
                  <a:pt x="0" y="234"/>
                </a:lnTo>
                <a:lnTo>
                  <a:pt x="0" y="242"/>
                </a:lnTo>
                <a:lnTo>
                  <a:pt x="0" y="242"/>
                </a:lnTo>
                <a:lnTo>
                  <a:pt x="4" y="244"/>
                </a:lnTo>
                <a:lnTo>
                  <a:pt x="6" y="242"/>
                </a:lnTo>
                <a:lnTo>
                  <a:pt x="8" y="238"/>
                </a:lnTo>
                <a:lnTo>
                  <a:pt x="8" y="238"/>
                </a:lnTo>
                <a:lnTo>
                  <a:pt x="10" y="238"/>
                </a:lnTo>
                <a:lnTo>
                  <a:pt x="10" y="240"/>
                </a:lnTo>
                <a:lnTo>
                  <a:pt x="10" y="242"/>
                </a:lnTo>
                <a:lnTo>
                  <a:pt x="10" y="242"/>
                </a:lnTo>
                <a:lnTo>
                  <a:pt x="12" y="242"/>
                </a:lnTo>
                <a:lnTo>
                  <a:pt x="16" y="240"/>
                </a:lnTo>
                <a:lnTo>
                  <a:pt x="16" y="240"/>
                </a:lnTo>
                <a:lnTo>
                  <a:pt x="16" y="244"/>
                </a:lnTo>
                <a:lnTo>
                  <a:pt x="18" y="244"/>
                </a:lnTo>
                <a:lnTo>
                  <a:pt x="24" y="244"/>
                </a:lnTo>
                <a:lnTo>
                  <a:pt x="24" y="244"/>
                </a:lnTo>
                <a:lnTo>
                  <a:pt x="26" y="250"/>
                </a:lnTo>
                <a:lnTo>
                  <a:pt x="28" y="256"/>
                </a:lnTo>
                <a:lnTo>
                  <a:pt x="28" y="256"/>
                </a:lnTo>
                <a:lnTo>
                  <a:pt x="28" y="260"/>
                </a:lnTo>
                <a:lnTo>
                  <a:pt x="26" y="262"/>
                </a:lnTo>
                <a:lnTo>
                  <a:pt x="26" y="262"/>
                </a:lnTo>
                <a:lnTo>
                  <a:pt x="26" y="266"/>
                </a:lnTo>
                <a:lnTo>
                  <a:pt x="26" y="268"/>
                </a:lnTo>
                <a:lnTo>
                  <a:pt x="24" y="268"/>
                </a:lnTo>
                <a:lnTo>
                  <a:pt x="24" y="268"/>
                </a:lnTo>
                <a:lnTo>
                  <a:pt x="26" y="272"/>
                </a:lnTo>
                <a:lnTo>
                  <a:pt x="28" y="276"/>
                </a:lnTo>
                <a:lnTo>
                  <a:pt x="28" y="276"/>
                </a:lnTo>
                <a:lnTo>
                  <a:pt x="28" y="280"/>
                </a:lnTo>
                <a:lnTo>
                  <a:pt x="26" y="284"/>
                </a:lnTo>
                <a:lnTo>
                  <a:pt x="30" y="284"/>
                </a:lnTo>
                <a:lnTo>
                  <a:pt x="30" y="284"/>
                </a:lnTo>
                <a:lnTo>
                  <a:pt x="32" y="284"/>
                </a:lnTo>
                <a:lnTo>
                  <a:pt x="34" y="284"/>
                </a:lnTo>
                <a:lnTo>
                  <a:pt x="34" y="284"/>
                </a:lnTo>
                <a:lnTo>
                  <a:pt x="34" y="284"/>
                </a:lnTo>
                <a:lnTo>
                  <a:pt x="244" y="284"/>
                </a:lnTo>
                <a:lnTo>
                  <a:pt x="244" y="284"/>
                </a:lnTo>
                <a:lnTo>
                  <a:pt x="242" y="282"/>
                </a:lnTo>
                <a:lnTo>
                  <a:pt x="242" y="280"/>
                </a:lnTo>
                <a:lnTo>
                  <a:pt x="242" y="280"/>
                </a:lnTo>
                <a:lnTo>
                  <a:pt x="244" y="278"/>
                </a:lnTo>
                <a:lnTo>
                  <a:pt x="246" y="280"/>
                </a:lnTo>
                <a:lnTo>
                  <a:pt x="246" y="280"/>
                </a:lnTo>
                <a:lnTo>
                  <a:pt x="246" y="282"/>
                </a:lnTo>
                <a:lnTo>
                  <a:pt x="246" y="284"/>
                </a:lnTo>
                <a:lnTo>
                  <a:pt x="262" y="284"/>
                </a:lnTo>
                <a:lnTo>
                  <a:pt x="262" y="284"/>
                </a:lnTo>
                <a:lnTo>
                  <a:pt x="262" y="282"/>
                </a:lnTo>
                <a:lnTo>
                  <a:pt x="262" y="282"/>
                </a:lnTo>
                <a:lnTo>
                  <a:pt x="262" y="282"/>
                </a:lnTo>
                <a:lnTo>
                  <a:pt x="264" y="278"/>
                </a:lnTo>
                <a:lnTo>
                  <a:pt x="266" y="276"/>
                </a:lnTo>
                <a:lnTo>
                  <a:pt x="266" y="274"/>
                </a:lnTo>
                <a:lnTo>
                  <a:pt x="266" y="274"/>
                </a:lnTo>
                <a:lnTo>
                  <a:pt x="260" y="270"/>
                </a:lnTo>
                <a:lnTo>
                  <a:pt x="258" y="270"/>
                </a:lnTo>
                <a:lnTo>
                  <a:pt x="254" y="272"/>
                </a:lnTo>
                <a:lnTo>
                  <a:pt x="254" y="272"/>
                </a:lnTo>
                <a:lnTo>
                  <a:pt x="254" y="272"/>
                </a:lnTo>
                <a:lnTo>
                  <a:pt x="256" y="274"/>
                </a:lnTo>
                <a:lnTo>
                  <a:pt x="256" y="276"/>
                </a:lnTo>
                <a:lnTo>
                  <a:pt x="254" y="278"/>
                </a:lnTo>
                <a:lnTo>
                  <a:pt x="254" y="278"/>
                </a:lnTo>
                <a:lnTo>
                  <a:pt x="250" y="274"/>
                </a:lnTo>
                <a:lnTo>
                  <a:pt x="246" y="268"/>
                </a:lnTo>
                <a:lnTo>
                  <a:pt x="244" y="262"/>
                </a:lnTo>
                <a:lnTo>
                  <a:pt x="244" y="254"/>
                </a:lnTo>
                <a:lnTo>
                  <a:pt x="244" y="254"/>
                </a:lnTo>
                <a:lnTo>
                  <a:pt x="242" y="254"/>
                </a:lnTo>
                <a:lnTo>
                  <a:pt x="240" y="256"/>
                </a:lnTo>
                <a:lnTo>
                  <a:pt x="238" y="256"/>
                </a:lnTo>
                <a:lnTo>
                  <a:pt x="236" y="254"/>
                </a:lnTo>
                <a:lnTo>
                  <a:pt x="236" y="254"/>
                </a:lnTo>
                <a:lnTo>
                  <a:pt x="238" y="252"/>
                </a:lnTo>
                <a:lnTo>
                  <a:pt x="236" y="250"/>
                </a:lnTo>
                <a:lnTo>
                  <a:pt x="234" y="246"/>
                </a:lnTo>
                <a:lnTo>
                  <a:pt x="234" y="244"/>
                </a:lnTo>
                <a:lnTo>
                  <a:pt x="234" y="244"/>
                </a:lnTo>
                <a:lnTo>
                  <a:pt x="236" y="244"/>
                </a:lnTo>
                <a:lnTo>
                  <a:pt x="238" y="246"/>
                </a:lnTo>
                <a:lnTo>
                  <a:pt x="240" y="248"/>
                </a:lnTo>
                <a:lnTo>
                  <a:pt x="240" y="248"/>
                </a:lnTo>
                <a:lnTo>
                  <a:pt x="240" y="248"/>
                </a:lnTo>
                <a:lnTo>
                  <a:pt x="242" y="246"/>
                </a:lnTo>
                <a:lnTo>
                  <a:pt x="244" y="242"/>
                </a:lnTo>
                <a:lnTo>
                  <a:pt x="246" y="240"/>
                </a:lnTo>
                <a:lnTo>
                  <a:pt x="248" y="238"/>
                </a:lnTo>
                <a:lnTo>
                  <a:pt x="248" y="238"/>
                </a:lnTo>
                <a:lnTo>
                  <a:pt x="250" y="240"/>
                </a:lnTo>
                <a:lnTo>
                  <a:pt x="250" y="242"/>
                </a:lnTo>
                <a:lnTo>
                  <a:pt x="250" y="242"/>
                </a:lnTo>
                <a:lnTo>
                  <a:pt x="256" y="242"/>
                </a:lnTo>
                <a:lnTo>
                  <a:pt x="258" y="240"/>
                </a:lnTo>
                <a:lnTo>
                  <a:pt x="258" y="240"/>
                </a:lnTo>
                <a:lnTo>
                  <a:pt x="258" y="238"/>
                </a:lnTo>
                <a:lnTo>
                  <a:pt x="256" y="234"/>
                </a:lnTo>
                <a:lnTo>
                  <a:pt x="256" y="234"/>
                </a:lnTo>
                <a:lnTo>
                  <a:pt x="260" y="234"/>
                </a:lnTo>
                <a:lnTo>
                  <a:pt x="262" y="232"/>
                </a:lnTo>
                <a:lnTo>
                  <a:pt x="264" y="232"/>
                </a:lnTo>
                <a:lnTo>
                  <a:pt x="266" y="230"/>
                </a:lnTo>
                <a:lnTo>
                  <a:pt x="266" y="230"/>
                </a:lnTo>
                <a:lnTo>
                  <a:pt x="268" y="232"/>
                </a:lnTo>
                <a:lnTo>
                  <a:pt x="268" y="234"/>
                </a:lnTo>
                <a:lnTo>
                  <a:pt x="266" y="238"/>
                </a:lnTo>
                <a:lnTo>
                  <a:pt x="266" y="238"/>
                </a:lnTo>
                <a:lnTo>
                  <a:pt x="268" y="240"/>
                </a:lnTo>
                <a:lnTo>
                  <a:pt x="268" y="240"/>
                </a:lnTo>
                <a:lnTo>
                  <a:pt x="266" y="244"/>
                </a:lnTo>
                <a:lnTo>
                  <a:pt x="266" y="244"/>
                </a:lnTo>
                <a:lnTo>
                  <a:pt x="270" y="246"/>
                </a:lnTo>
                <a:lnTo>
                  <a:pt x="274" y="246"/>
                </a:lnTo>
                <a:lnTo>
                  <a:pt x="274" y="246"/>
                </a:lnTo>
                <a:lnTo>
                  <a:pt x="276" y="246"/>
                </a:lnTo>
                <a:lnTo>
                  <a:pt x="278" y="246"/>
                </a:lnTo>
                <a:lnTo>
                  <a:pt x="278" y="244"/>
                </a:lnTo>
                <a:lnTo>
                  <a:pt x="278" y="244"/>
                </a:lnTo>
                <a:lnTo>
                  <a:pt x="276" y="244"/>
                </a:lnTo>
                <a:lnTo>
                  <a:pt x="274" y="242"/>
                </a:lnTo>
                <a:lnTo>
                  <a:pt x="272" y="240"/>
                </a:lnTo>
                <a:lnTo>
                  <a:pt x="274" y="238"/>
                </a:lnTo>
                <a:lnTo>
                  <a:pt x="274" y="238"/>
                </a:lnTo>
                <a:lnTo>
                  <a:pt x="276" y="238"/>
                </a:lnTo>
                <a:lnTo>
                  <a:pt x="276" y="240"/>
                </a:lnTo>
                <a:lnTo>
                  <a:pt x="278" y="242"/>
                </a:lnTo>
                <a:lnTo>
                  <a:pt x="280" y="242"/>
                </a:lnTo>
                <a:lnTo>
                  <a:pt x="280" y="242"/>
                </a:lnTo>
                <a:lnTo>
                  <a:pt x="280" y="238"/>
                </a:lnTo>
                <a:lnTo>
                  <a:pt x="282" y="234"/>
                </a:lnTo>
                <a:lnTo>
                  <a:pt x="290" y="230"/>
                </a:lnTo>
                <a:lnTo>
                  <a:pt x="290" y="230"/>
                </a:lnTo>
                <a:lnTo>
                  <a:pt x="288" y="228"/>
                </a:lnTo>
                <a:lnTo>
                  <a:pt x="288" y="224"/>
                </a:lnTo>
                <a:lnTo>
                  <a:pt x="288" y="224"/>
                </a:lnTo>
                <a:lnTo>
                  <a:pt x="292" y="224"/>
                </a:lnTo>
                <a:lnTo>
                  <a:pt x="294" y="222"/>
                </a:lnTo>
                <a:lnTo>
                  <a:pt x="296" y="220"/>
                </a:lnTo>
                <a:lnTo>
                  <a:pt x="296" y="220"/>
                </a:lnTo>
                <a:lnTo>
                  <a:pt x="292" y="216"/>
                </a:lnTo>
                <a:lnTo>
                  <a:pt x="292" y="216"/>
                </a:lnTo>
                <a:lnTo>
                  <a:pt x="296" y="214"/>
                </a:lnTo>
                <a:lnTo>
                  <a:pt x="298" y="208"/>
                </a:lnTo>
                <a:lnTo>
                  <a:pt x="298" y="208"/>
                </a:lnTo>
                <a:lnTo>
                  <a:pt x="296" y="206"/>
                </a:lnTo>
                <a:lnTo>
                  <a:pt x="294" y="206"/>
                </a:lnTo>
                <a:lnTo>
                  <a:pt x="290" y="202"/>
                </a:lnTo>
                <a:lnTo>
                  <a:pt x="290" y="202"/>
                </a:lnTo>
                <a:lnTo>
                  <a:pt x="290" y="200"/>
                </a:lnTo>
                <a:lnTo>
                  <a:pt x="290" y="198"/>
                </a:lnTo>
                <a:lnTo>
                  <a:pt x="290" y="198"/>
                </a:lnTo>
                <a:lnTo>
                  <a:pt x="284" y="198"/>
                </a:lnTo>
                <a:lnTo>
                  <a:pt x="278" y="200"/>
                </a:lnTo>
                <a:lnTo>
                  <a:pt x="278" y="200"/>
                </a:lnTo>
                <a:lnTo>
                  <a:pt x="278" y="198"/>
                </a:lnTo>
                <a:lnTo>
                  <a:pt x="278" y="198"/>
                </a:lnTo>
                <a:lnTo>
                  <a:pt x="280" y="196"/>
                </a:lnTo>
                <a:lnTo>
                  <a:pt x="282" y="194"/>
                </a:lnTo>
                <a:lnTo>
                  <a:pt x="282" y="190"/>
                </a:lnTo>
                <a:lnTo>
                  <a:pt x="282" y="190"/>
                </a:lnTo>
                <a:lnTo>
                  <a:pt x="276" y="188"/>
                </a:lnTo>
                <a:lnTo>
                  <a:pt x="274" y="186"/>
                </a:lnTo>
                <a:lnTo>
                  <a:pt x="270" y="188"/>
                </a:lnTo>
                <a:lnTo>
                  <a:pt x="270" y="188"/>
                </a:lnTo>
                <a:lnTo>
                  <a:pt x="270" y="190"/>
                </a:lnTo>
                <a:lnTo>
                  <a:pt x="272" y="192"/>
                </a:lnTo>
                <a:lnTo>
                  <a:pt x="272" y="192"/>
                </a:lnTo>
                <a:lnTo>
                  <a:pt x="272" y="194"/>
                </a:lnTo>
                <a:lnTo>
                  <a:pt x="272" y="194"/>
                </a:lnTo>
                <a:lnTo>
                  <a:pt x="268" y="192"/>
                </a:lnTo>
                <a:lnTo>
                  <a:pt x="264" y="188"/>
                </a:lnTo>
                <a:lnTo>
                  <a:pt x="260" y="180"/>
                </a:lnTo>
                <a:lnTo>
                  <a:pt x="260" y="180"/>
                </a:lnTo>
                <a:lnTo>
                  <a:pt x="260" y="178"/>
                </a:lnTo>
                <a:lnTo>
                  <a:pt x="260" y="178"/>
                </a:lnTo>
                <a:lnTo>
                  <a:pt x="262" y="178"/>
                </a:lnTo>
                <a:lnTo>
                  <a:pt x="264" y="178"/>
                </a:lnTo>
                <a:lnTo>
                  <a:pt x="266" y="176"/>
                </a:lnTo>
                <a:lnTo>
                  <a:pt x="266" y="174"/>
                </a:lnTo>
                <a:lnTo>
                  <a:pt x="266" y="174"/>
                </a:lnTo>
                <a:lnTo>
                  <a:pt x="264" y="172"/>
                </a:lnTo>
                <a:lnTo>
                  <a:pt x="258" y="170"/>
                </a:lnTo>
                <a:lnTo>
                  <a:pt x="258" y="170"/>
                </a:lnTo>
                <a:lnTo>
                  <a:pt x="258" y="166"/>
                </a:lnTo>
                <a:lnTo>
                  <a:pt x="256" y="166"/>
                </a:lnTo>
                <a:lnTo>
                  <a:pt x="252" y="164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4" y="164"/>
                </a:lnTo>
                <a:lnTo>
                  <a:pt x="256" y="166"/>
                </a:lnTo>
                <a:lnTo>
                  <a:pt x="256" y="166"/>
                </a:lnTo>
                <a:lnTo>
                  <a:pt x="260" y="160"/>
                </a:lnTo>
                <a:lnTo>
                  <a:pt x="260" y="160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6" y="160"/>
                </a:lnTo>
                <a:lnTo>
                  <a:pt x="270" y="160"/>
                </a:lnTo>
                <a:lnTo>
                  <a:pt x="270" y="160"/>
                </a:lnTo>
                <a:lnTo>
                  <a:pt x="268" y="158"/>
                </a:lnTo>
                <a:lnTo>
                  <a:pt x="268" y="158"/>
                </a:lnTo>
                <a:lnTo>
                  <a:pt x="276" y="156"/>
                </a:lnTo>
                <a:lnTo>
                  <a:pt x="276" y="156"/>
                </a:lnTo>
                <a:lnTo>
                  <a:pt x="274" y="156"/>
                </a:lnTo>
                <a:lnTo>
                  <a:pt x="274" y="152"/>
                </a:lnTo>
                <a:lnTo>
                  <a:pt x="274" y="152"/>
                </a:lnTo>
                <a:lnTo>
                  <a:pt x="276" y="152"/>
                </a:lnTo>
                <a:lnTo>
                  <a:pt x="278" y="150"/>
                </a:lnTo>
                <a:lnTo>
                  <a:pt x="280" y="148"/>
                </a:lnTo>
                <a:lnTo>
                  <a:pt x="284" y="148"/>
                </a:lnTo>
                <a:lnTo>
                  <a:pt x="284" y="148"/>
                </a:lnTo>
                <a:lnTo>
                  <a:pt x="284" y="150"/>
                </a:lnTo>
                <a:lnTo>
                  <a:pt x="284" y="152"/>
                </a:lnTo>
                <a:lnTo>
                  <a:pt x="282" y="154"/>
                </a:lnTo>
                <a:lnTo>
                  <a:pt x="282" y="154"/>
                </a:lnTo>
                <a:lnTo>
                  <a:pt x="284" y="156"/>
                </a:lnTo>
                <a:lnTo>
                  <a:pt x="284" y="158"/>
                </a:lnTo>
                <a:lnTo>
                  <a:pt x="284" y="162"/>
                </a:lnTo>
                <a:lnTo>
                  <a:pt x="284" y="162"/>
                </a:lnTo>
                <a:lnTo>
                  <a:pt x="286" y="164"/>
                </a:lnTo>
                <a:lnTo>
                  <a:pt x="290" y="164"/>
                </a:lnTo>
                <a:lnTo>
                  <a:pt x="290" y="164"/>
                </a:lnTo>
                <a:lnTo>
                  <a:pt x="292" y="164"/>
                </a:lnTo>
                <a:lnTo>
                  <a:pt x="294" y="164"/>
                </a:lnTo>
                <a:lnTo>
                  <a:pt x="294" y="162"/>
                </a:lnTo>
                <a:lnTo>
                  <a:pt x="294" y="162"/>
                </a:lnTo>
                <a:lnTo>
                  <a:pt x="292" y="162"/>
                </a:lnTo>
                <a:lnTo>
                  <a:pt x="290" y="158"/>
                </a:lnTo>
                <a:lnTo>
                  <a:pt x="288" y="156"/>
                </a:lnTo>
                <a:lnTo>
                  <a:pt x="290" y="154"/>
                </a:lnTo>
                <a:lnTo>
                  <a:pt x="290" y="154"/>
                </a:lnTo>
                <a:lnTo>
                  <a:pt x="292" y="156"/>
                </a:lnTo>
                <a:lnTo>
                  <a:pt x="292" y="158"/>
                </a:lnTo>
                <a:lnTo>
                  <a:pt x="294" y="160"/>
                </a:lnTo>
                <a:lnTo>
                  <a:pt x="296" y="160"/>
                </a:lnTo>
                <a:lnTo>
                  <a:pt x="296" y="160"/>
                </a:lnTo>
                <a:lnTo>
                  <a:pt x="296" y="154"/>
                </a:lnTo>
                <a:lnTo>
                  <a:pt x="298" y="150"/>
                </a:lnTo>
                <a:lnTo>
                  <a:pt x="306" y="146"/>
                </a:lnTo>
                <a:lnTo>
                  <a:pt x="306" y="146"/>
                </a:lnTo>
                <a:lnTo>
                  <a:pt x="304" y="144"/>
                </a:lnTo>
                <a:lnTo>
                  <a:pt x="304" y="142"/>
                </a:lnTo>
                <a:lnTo>
                  <a:pt x="304" y="142"/>
                </a:lnTo>
                <a:lnTo>
                  <a:pt x="308" y="140"/>
                </a:lnTo>
                <a:lnTo>
                  <a:pt x="310" y="140"/>
                </a:lnTo>
                <a:lnTo>
                  <a:pt x="312" y="138"/>
                </a:lnTo>
                <a:lnTo>
                  <a:pt x="312" y="138"/>
                </a:lnTo>
                <a:lnTo>
                  <a:pt x="308" y="134"/>
                </a:lnTo>
                <a:lnTo>
                  <a:pt x="308" y="134"/>
                </a:lnTo>
                <a:lnTo>
                  <a:pt x="312" y="130"/>
                </a:lnTo>
                <a:lnTo>
                  <a:pt x="314" y="126"/>
                </a:lnTo>
                <a:lnTo>
                  <a:pt x="314" y="126"/>
                </a:lnTo>
                <a:close/>
                <a:moveTo>
                  <a:pt x="278" y="70"/>
                </a:moveTo>
                <a:lnTo>
                  <a:pt x="278" y="70"/>
                </a:lnTo>
                <a:lnTo>
                  <a:pt x="274" y="70"/>
                </a:lnTo>
                <a:lnTo>
                  <a:pt x="272" y="68"/>
                </a:lnTo>
                <a:lnTo>
                  <a:pt x="272" y="68"/>
                </a:lnTo>
                <a:lnTo>
                  <a:pt x="274" y="66"/>
                </a:lnTo>
                <a:lnTo>
                  <a:pt x="276" y="66"/>
                </a:lnTo>
                <a:lnTo>
                  <a:pt x="278" y="68"/>
                </a:lnTo>
                <a:lnTo>
                  <a:pt x="278" y="70"/>
                </a:lnTo>
                <a:lnTo>
                  <a:pt x="278" y="70"/>
                </a:lnTo>
                <a:close/>
                <a:moveTo>
                  <a:pt x="274" y="86"/>
                </a:moveTo>
                <a:lnTo>
                  <a:pt x="274" y="86"/>
                </a:lnTo>
                <a:lnTo>
                  <a:pt x="270" y="92"/>
                </a:lnTo>
                <a:lnTo>
                  <a:pt x="270" y="92"/>
                </a:lnTo>
                <a:lnTo>
                  <a:pt x="268" y="88"/>
                </a:lnTo>
                <a:lnTo>
                  <a:pt x="268" y="82"/>
                </a:lnTo>
                <a:lnTo>
                  <a:pt x="268" y="82"/>
                </a:lnTo>
                <a:lnTo>
                  <a:pt x="270" y="86"/>
                </a:lnTo>
                <a:lnTo>
                  <a:pt x="274" y="86"/>
                </a:lnTo>
                <a:lnTo>
                  <a:pt x="274" y="86"/>
                </a:lnTo>
                <a:close/>
                <a:moveTo>
                  <a:pt x="18" y="210"/>
                </a:moveTo>
                <a:lnTo>
                  <a:pt x="18" y="210"/>
                </a:lnTo>
                <a:lnTo>
                  <a:pt x="16" y="208"/>
                </a:lnTo>
                <a:lnTo>
                  <a:pt x="18" y="206"/>
                </a:lnTo>
                <a:lnTo>
                  <a:pt x="20" y="202"/>
                </a:lnTo>
                <a:lnTo>
                  <a:pt x="20" y="202"/>
                </a:lnTo>
                <a:lnTo>
                  <a:pt x="22" y="204"/>
                </a:lnTo>
                <a:lnTo>
                  <a:pt x="22" y="208"/>
                </a:lnTo>
                <a:lnTo>
                  <a:pt x="20" y="210"/>
                </a:lnTo>
                <a:lnTo>
                  <a:pt x="18" y="210"/>
                </a:lnTo>
                <a:lnTo>
                  <a:pt x="18" y="210"/>
                </a:lnTo>
                <a:close/>
                <a:moveTo>
                  <a:pt x="290" y="208"/>
                </a:moveTo>
                <a:lnTo>
                  <a:pt x="294" y="208"/>
                </a:lnTo>
                <a:lnTo>
                  <a:pt x="294" y="208"/>
                </a:lnTo>
                <a:lnTo>
                  <a:pt x="294" y="210"/>
                </a:lnTo>
                <a:lnTo>
                  <a:pt x="294" y="214"/>
                </a:lnTo>
                <a:lnTo>
                  <a:pt x="294" y="214"/>
                </a:lnTo>
                <a:lnTo>
                  <a:pt x="290" y="214"/>
                </a:lnTo>
                <a:lnTo>
                  <a:pt x="288" y="212"/>
                </a:lnTo>
                <a:lnTo>
                  <a:pt x="288" y="210"/>
                </a:lnTo>
                <a:lnTo>
                  <a:pt x="290" y="208"/>
                </a:lnTo>
                <a:lnTo>
                  <a:pt x="290" y="208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6" y="214"/>
                </a:lnTo>
                <a:lnTo>
                  <a:pt x="206" y="214"/>
                </a:lnTo>
                <a:lnTo>
                  <a:pt x="204" y="214"/>
                </a:lnTo>
                <a:lnTo>
                  <a:pt x="202" y="212"/>
                </a:lnTo>
                <a:lnTo>
                  <a:pt x="202" y="208"/>
                </a:lnTo>
                <a:lnTo>
                  <a:pt x="208" y="208"/>
                </a:lnTo>
                <a:close/>
                <a:moveTo>
                  <a:pt x="56" y="216"/>
                </a:moveTo>
                <a:lnTo>
                  <a:pt x="56" y="216"/>
                </a:lnTo>
                <a:lnTo>
                  <a:pt x="54" y="216"/>
                </a:lnTo>
                <a:lnTo>
                  <a:pt x="54" y="214"/>
                </a:lnTo>
                <a:lnTo>
                  <a:pt x="52" y="212"/>
                </a:lnTo>
                <a:lnTo>
                  <a:pt x="52" y="212"/>
                </a:lnTo>
                <a:lnTo>
                  <a:pt x="52" y="212"/>
                </a:lnTo>
                <a:lnTo>
                  <a:pt x="52" y="210"/>
                </a:lnTo>
                <a:lnTo>
                  <a:pt x="54" y="208"/>
                </a:lnTo>
                <a:lnTo>
                  <a:pt x="56" y="208"/>
                </a:lnTo>
                <a:lnTo>
                  <a:pt x="56" y="208"/>
                </a:lnTo>
                <a:lnTo>
                  <a:pt x="54" y="212"/>
                </a:lnTo>
                <a:lnTo>
                  <a:pt x="56" y="216"/>
                </a:lnTo>
                <a:lnTo>
                  <a:pt x="56" y="216"/>
                </a:lnTo>
                <a:close/>
                <a:moveTo>
                  <a:pt x="134" y="86"/>
                </a:moveTo>
                <a:lnTo>
                  <a:pt x="134" y="86"/>
                </a:lnTo>
                <a:lnTo>
                  <a:pt x="136" y="86"/>
                </a:lnTo>
                <a:lnTo>
                  <a:pt x="138" y="86"/>
                </a:lnTo>
                <a:lnTo>
                  <a:pt x="142" y="84"/>
                </a:lnTo>
                <a:lnTo>
                  <a:pt x="142" y="84"/>
                </a:lnTo>
                <a:lnTo>
                  <a:pt x="146" y="82"/>
                </a:lnTo>
                <a:lnTo>
                  <a:pt x="146" y="82"/>
                </a:lnTo>
                <a:lnTo>
                  <a:pt x="148" y="84"/>
                </a:lnTo>
                <a:lnTo>
                  <a:pt x="148" y="84"/>
                </a:lnTo>
                <a:lnTo>
                  <a:pt x="142" y="88"/>
                </a:lnTo>
                <a:lnTo>
                  <a:pt x="142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4" y="86"/>
                </a:lnTo>
                <a:lnTo>
                  <a:pt x="134" y="86"/>
                </a:lnTo>
                <a:close/>
                <a:moveTo>
                  <a:pt x="136" y="78"/>
                </a:moveTo>
                <a:lnTo>
                  <a:pt x="136" y="78"/>
                </a:lnTo>
                <a:lnTo>
                  <a:pt x="138" y="78"/>
                </a:lnTo>
                <a:lnTo>
                  <a:pt x="138" y="80"/>
                </a:lnTo>
                <a:lnTo>
                  <a:pt x="140" y="82"/>
                </a:lnTo>
                <a:lnTo>
                  <a:pt x="140" y="82"/>
                </a:lnTo>
                <a:lnTo>
                  <a:pt x="140" y="84"/>
                </a:lnTo>
                <a:lnTo>
                  <a:pt x="138" y="84"/>
                </a:lnTo>
                <a:lnTo>
                  <a:pt x="134" y="84"/>
                </a:lnTo>
                <a:lnTo>
                  <a:pt x="134" y="84"/>
                </a:lnTo>
                <a:lnTo>
                  <a:pt x="134" y="82"/>
                </a:lnTo>
                <a:lnTo>
                  <a:pt x="136" y="78"/>
                </a:lnTo>
                <a:lnTo>
                  <a:pt x="136" y="78"/>
                </a:lnTo>
                <a:close/>
                <a:moveTo>
                  <a:pt x="154" y="94"/>
                </a:moveTo>
                <a:lnTo>
                  <a:pt x="154" y="94"/>
                </a:lnTo>
                <a:lnTo>
                  <a:pt x="156" y="96"/>
                </a:lnTo>
                <a:lnTo>
                  <a:pt x="156" y="100"/>
                </a:lnTo>
                <a:lnTo>
                  <a:pt x="156" y="100"/>
                </a:lnTo>
                <a:lnTo>
                  <a:pt x="158" y="100"/>
                </a:lnTo>
                <a:lnTo>
                  <a:pt x="160" y="100"/>
                </a:lnTo>
                <a:lnTo>
                  <a:pt x="160" y="100"/>
                </a:lnTo>
                <a:lnTo>
                  <a:pt x="160" y="102"/>
                </a:lnTo>
                <a:lnTo>
                  <a:pt x="160" y="102"/>
                </a:lnTo>
                <a:lnTo>
                  <a:pt x="162" y="106"/>
                </a:lnTo>
                <a:lnTo>
                  <a:pt x="162" y="106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54" y="102"/>
                </a:lnTo>
                <a:lnTo>
                  <a:pt x="154" y="102"/>
                </a:lnTo>
                <a:lnTo>
                  <a:pt x="152" y="98"/>
                </a:lnTo>
                <a:lnTo>
                  <a:pt x="152" y="94"/>
                </a:lnTo>
                <a:lnTo>
                  <a:pt x="152" y="94"/>
                </a:lnTo>
                <a:lnTo>
                  <a:pt x="154" y="94"/>
                </a:lnTo>
                <a:lnTo>
                  <a:pt x="154" y="94"/>
                </a:lnTo>
                <a:close/>
                <a:moveTo>
                  <a:pt x="174" y="78"/>
                </a:moveTo>
                <a:lnTo>
                  <a:pt x="174" y="78"/>
                </a:lnTo>
                <a:lnTo>
                  <a:pt x="178" y="78"/>
                </a:lnTo>
                <a:lnTo>
                  <a:pt x="178" y="78"/>
                </a:lnTo>
                <a:lnTo>
                  <a:pt x="178" y="86"/>
                </a:lnTo>
                <a:lnTo>
                  <a:pt x="174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78"/>
                </a:lnTo>
                <a:lnTo>
                  <a:pt x="174" y="78"/>
                </a:lnTo>
                <a:close/>
                <a:moveTo>
                  <a:pt x="174" y="68"/>
                </a:moveTo>
                <a:lnTo>
                  <a:pt x="174" y="68"/>
                </a:lnTo>
                <a:lnTo>
                  <a:pt x="178" y="68"/>
                </a:lnTo>
                <a:lnTo>
                  <a:pt x="178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0"/>
                </a:lnTo>
                <a:lnTo>
                  <a:pt x="174" y="68"/>
                </a:lnTo>
                <a:lnTo>
                  <a:pt x="174" y="68"/>
                </a:lnTo>
                <a:close/>
                <a:moveTo>
                  <a:pt x="196" y="94"/>
                </a:moveTo>
                <a:lnTo>
                  <a:pt x="196" y="94"/>
                </a:lnTo>
                <a:lnTo>
                  <a:pt x="200" y="96"/>
                </a:lnTo>
                <a:lnTo>
                  <a:pt x="200" y="98"/>
                </a:lnTo>
                <a:lnTo>
                  <a:pt x="200" y="98"/>
                </a:lnTo>
                <a:lnTo>
                  <a:pt x="198" y="98"/>
                </a:lnTo>
                <a:lnTo>
                  <a:pt x="196" y="96"/>
                </a:lnTo>
                <a:lnTo>
                  <a:pt x="196" y="94"/>
                </a:lnTo>
                <a:lnTo>
                  <a:pt x="196" y="94"/>
                </a:lnTo>
                <a:close/>
                <a:moveTo>
                  <a:pt x="202" y="110"/>
                </a:moveTo>
                <a:lnTo>
                  <a:pt x="202" y="110"/>
                </a:lnTo>
                <a:lnTo>
                  <a:pt x="204" y="114"/>
                </a:lnTo>
                <a:lnTo>
                  <a:pt x="204" y="114"/>
                </a:lnTo>
                <a:lnTo>
                  <a:pt x="200" y="112"/>
                </a:lnTo>
                <a:lnTo>
                  <a:pt x="198" y="110"/>
                </a:lnTo>
                <a:lnTo>
                  <a:pt x="202" y="110"/>
                </a:lnTo>
                <a:close/>
                <a:moveTo>
                  <a:pt x="230" y="122"/>
                </a:moveTo>
                <a:lnTo>
                  <a:pt x="230" y="122"/>
                </a:lnTo>
                <a:lnTo>
                  <a:pt x="232" y="124"/>
                </a:lnTo>
                <a:lnTo>
                  <a:pt x="234" y="124"/>
                </a:lnTo>
                <a:lnTo>
                  <a:pt x="234" y="132"/>
                </a:lnTo>
                <a:lnTo>
                  <a:pt x="234" y="132"/>
                </a:lnTo>
                <a:lnTo>
                  <a:pt x="232" y="130"/>
                </a:lnTo>
                <a:lnTo>
                  <a:pt x="230" y="128"/>
                </a:lnTo>
                <a:lnTo>
                  <a:pt x="230" y="128"/>
                </a:lnTo>
                <a:lnTo>
                  <a:pt x="228" y="128"/>
                </a:lnTo>
                <a:lnTo>
                  <a:pt x="228" y="126"/>
                </a:lnTo>
                <a:lnTo>
                  <a:pt x="224" y="124"/>
                </a:lnTo>
                <a:lnTo>
                  <a:pt x="224" y="124"/>
                </a:lnTo>
                <a:lnTo>
                  <a:pt x="224" y="120"/>
                </a:lnTo>
                <a:lnTo>
                  <a:pt x="224" y="114"/>
                </a:lnTo>
                <a:lnTo>
                  <a:pt x="224" y="114"/>
                </a:lnTo>
                <a:lnTo>
                  <a:pt x="224" y="112"/>
                </a:lnTo>
                <a:lnTo>
                  <a:pt x="222" y="110"/>
                </a:lnTo>
                <a:lnTo>
                  <a:pt x="220" y="110"/>
                </a:lnTo>
                <a:lnTo>
                  <a:pt x="220" y="106"/>
                </a:lnTo>
                <a:lnTo>
                  <a:pt x="220" y="106"/>
                </a:lnTo>
                <a:lnTo>
                  <a:pt x="224" y="108"/>
                </a:lnTo>
                <a:lnTo>
                  <a:pt x="224" y="110"/>
                </a:lnTo>
                <a:lnTo>
                  <a:pt x="228" y="112"/>
                </a:lnTo>
                <a:lnTo>
                  <a:pt x="228" y="112"/>
                </a:lnTo>
                <a:lnTo>
                  <a:pt x="230" y="118"/>
                </a:lnTo>
                <a:lnTo>
                  <a:pt x="230" y="122"/>
                </a:lnTo>
                <a:lnTo>
                  <a:pt x="230" y="122"/>
                </a:lnTo>
                <a:close/>
                <a:moveTo>
                  <a:pt x="240" y="156"/>
                </a:moveTo>
                <a:lnTo>
                  <a:pt x="240" y="156"/>
                </a:lnTo>
                <a:lnTo>
                  <a:pt x="240" y="154"/>
                </a:lnTo>
                <a:lnTo>
                  <a:pt x="240" y="152"/>
                </a:lnTo>
                <a:lnTo>
                  <a:pt x="240" y="152"/>
                </a:lnTo>
                <a:lnTo>
                  <a:pt x="242" y="154"/>
                </a:lnTo>
                <a:lnTo>
                  <a:pt x="242" y="154"/>
                </a:lnTo>
                <a:lnTo>
                  <a:pt x="240" y="156"/>
                </a:lnTo>
                <a:lnTo>
                  <a:pt x="240" y="156"/>
                </a:lnTo>
                <a:close/>
                <a:moveTo>
                  <a:pt x="168" y="112"/>
                </a:moveTo>
                <a:lnTo>
                  <a:pt x="168" y="112"/>
                </a:lnTo>
                <a:lnTo>
                  <a:pt x="168" y="114"/>
                </a:lnTo>
                <a:lnTo>
                  <a:pt x="168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close/>
                <a:moveTo>
                  <a:pt x="162" y="108"/>
                </a:move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8"/>
                </a:lnTo>
                <a:lnTo>
                  <a:pt x="162" y="108"/>
                </a:lnTo>
                <a:close/>
                <a:moveTo>
                  <a:pt x="130" y="178"/>
                </a:moveTo>
                <a:lnTo>
                  <a:pt x="130" y="178"/>
                </a:lnTo>
                <a:lnTo>
                  <a:pt x="130" y="176"/>
                </a:lnTo>
                <a:lnTo>
                  <a:pt x="126" y="174"/>
                </a:lnTo>
                <a:lnTo>
                  <a:pt x="126" y="174"/>
                </a:lnTo>
                <a:lnTo>
                  <a:pt x="128" y="172"/>
                </a:lnTo>
                <a:lnTo>
                  <a:pt x="128" y="172"/>
                </a:lnTo>
                <a:lnTo>
                  <a:pt x="132" y="172"/>
                </a:lnTo>
                <a:lnTo>
                  <a:pt x="134" y="174"/>
                </a:lnTo>
                <a:lnTo>
                  <a:pt x="134" y="174"/>
                </a:lnTo>
                <a:lnTo>
                  <a:pt x="132" y="178"/>
                </a:lnTo>
                <a:lnTo>
                  <a:pt x="132" y="178"/>
                </a:lnTo>
                <a:lnTo>
                  <a:pt x="132" y="178"/>
                </a:lnTo>
                <a:lnTo>
                  <a:pt x="130" y="178"/>
                </a:lnTo>
                <a:lnTo>
                  <a:pt x="130" y="178"/>
                </a:lnTo>
                <a:close/>
                <a:moveTo>
                  <a:pt x="176" y="116"/>
                </a:moveTo>
                <a:lnTo>
                  <a:pt x="176" y="116"/>
                </a:lnTo>
                <a:lnTo>
                  <a:pt x="180" y="116"/>
                </a:lnTo>
                <a:lnTo>
                  <a:pt x="182" y="112"/>
                </a:lnTo>
                <a:lnTo>
                  <a:pt x="182" y="112"/>
                </a:lnTo>
                <a:lnTo>
                  <a:pt x="184" y="114"/>
                </a:lnTo>
                <a:lnTo>
                  <a:pt x="184" y="114"/>
                </a:lnTo>
                <a:lnTo>
                  <a:pt x="182" y="118"/>
                </a:lnTo>
                <a:lnTo>
                  <a:pt x="182" y="118"/>
                </a:lnTo>
                <a:lnTo>
                  <a:pt x="176" y="118"/>
                </a:lnTo>
                <a:lnTo>
                  <a:pt x="176" y="118"/>
                </a:lnTo>
                <a:lnTo>
                  <a:pt x="176" y="116"/>
                </a:lnTo>
                <a:lnTo>
                  <a:pt x="176" y="116"/>
                </a:lnTo>
                <a:close/>
                <a:moveTo>
                  <a:pt x="218" y="124"/>
                </a:moveTo>
                <a:lnTo>
                  <a:pt x="224" y="124"/>
                </a:lnTo>
                <a:lnTo>
                  <a:pt x="224" y="124"/>
                </a:lnTo>
                <a:lnTo>
                  <a:pt x="222" y="132"/>
                </a:lnTo>
                <a:lnTo>
                  <a:pt x="222" y="132"/>
                </a:lnTo>
                <a:lnTo>
                  <a:pt x="220" y="132"/>
                </a:lnTo>
                <a:lnTo>
                  <a:pt x="220" y="132"/>
                </a:lnTo>
                <a:lnTo>
                  <a:pt x="218" y="130"/>
                </a:lnTo>
                <a:lnTo>
                  <a:pt x="218" y="130"/>
                </a:lnTo>
                <a:lnTo>
                  <a:pt x="218" y="124"/>
                </a:lnTo>
                <a:lnTo>
                  <a:pt x="218" y="124"/>
                </a:lnTo>
                <a:close/>
                <a:moveTo>
                  <a:pt x="206" y="122"/>
                </a:move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close/>
                <a:moveTo>
                  <a:pt x="218" y="96"/>
                </a:moveTo>
                <a:lnTo>
                  <a:pt x="218" y="102"/>
                </a:lnTo>
                <a:lnTo>
                  <a:pt x="218" y="102"/>
                </a:lnTo>
                <a:lnTo>
                  <a:pt x="216" y="102"/>
                </a:lnTo>
                <a:lnTo>
                  <a:pt x="216" y="100"/>
                </a:lnTo>
                <a:lnTo>
                  <a:pt x="216" y="96"/>
                </a:lnTo>
                <a:lnTo>
                  <a:pt x="216" y="96"/>
                </a:lnTo>
                <a:lnTo>
                  <a:pt x="216" y="94"/>
                </a:lnTo>
                <a:lnTo>
                  <a:pt x="214" y="90"/>
                </a:lnTo>
                <a:lnTo>
                  <a:pt x="214" y="90"/>
                </a:lnTo>
                <a:lnTo>
                  <a:pt x="220" y="92"/>
                </a:lnTo>
                <a:lnTo>
                  <a:pt x="222" y="94"/>
                </a:lnTo>
                <a:lnTo>
                  <a:pt x="222" y="94"/>
                </a:lnTo>
                <a:lnTo>
                  <a:pt x="222" y="96"/>
                </a:lnTo>
                <a:lnTo>
                  <a:pt x="218" y="96"/>
                </a:lnTo>
                <a:lnTo>
                  <a:pt x="218" y="96"/>
                </a:lnTo>
                <a:close/>
                <a:moveTo>
                  <a:pt x="184" y="110"/>
                </a:moveTo>
                <a:lnTo>
                  <a:pt x="184" y="110"/>
                </a:lnTo>
                <a:lnTo>
                  <a:pt x="184" y="110"/>
                </a:lnTo>
                <a:lnTo>
                  <a:pt x="184" y="110"/>
                </a:lnTo>
                <a:lnTo>
                  <a:pt x="184" y="108"/>
                </a:lnTo>
                <a:lnTo>
                  <a:pt x="184" y="108"/>
                </a:lnTo>
                <a:lnTo>
                  <a:pt x="186" y="108"/>
                </a:lnTo>
                <a:lnTo>
                  <a:pt x="186" y="108"/>
                </a:lnTo>
                <a:lnTo>
                  <a:pt x="184" y="110"/>
                </a:lnTo>
                <a:lnTo>
                  <a:pt x="184" y="110"/>
                </a:lnTo>
                <a:close/>
                <a:moveTo>
                  <a:pt x="172" y="92"/>
                </a:moveTo>
                <a:lnTo>
                  <a:pt x="172" y="92"/>
                </a:lnTo>
                <a:lnTo>
                  <a:pt x="172" y="92"/>
                </a:lnTo>
                <a:lnTo>
                  <a:pt x="172" y="92"/>
                </a:lnTo>
                <a:lnTo>
                  <a:pt x="172" y="94"/>
                </a:lnTo>
                <a:lnTo>
                  <a:pt x="172" y="94"/>
                </a:lnTo>
                <a:lnTo>
                  <a:pt x="172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2"/>
                </a:lnTo>
                <a:lnTo>
                  <a:pt x="166" y="90"/>
                </a:lnTo>
                <a:lnTo>
                  <a:pt x="164" y="90"/>
                </a:lnTo>
                <a:lnTo>
                  <a:pt x="160" y="88"/>
                </a:lnTo>
                <a:lnTo>
                  <a:pt x="160" y="88"/>
                </a:lnTo>
                <a:lnTo>
                  <a:pt x="162" y="86"/>
                </a:lnTo>
                <a:lnTo>
                  <a:pt x="162" y="86"/>
                </a:lnTo>
                <a:lnTo>
                  <a:pt x="166" y="84"/>
                </a:lnTo>
                <a:lnTo>
                  <a:pt x="166" y="84"/>
                </a:lnTo>
                <a:lnTo>
                  <a:pt x="168" y="84"/>
                </a:lnTo>
                <a:lnTo>
                  <a:pt x="168" y="86"/>
                </a:lnTo>
                <a:lnTo>
                  <a:pt x="168" y="86"/>
                </a:lnTo>
                <a:lnTo>
                  <a:pt x="172" y="88"/>
                </a:lnTo>
                <a:lnTo>
                  <a:pt x="172" y="88"/>
                </a:lnTo>
                <a:lnTo>
                  <a:pt x="172" y="92"/>
                </a:lnTo>
                <a:lnTo>
                  <a:pt x="172" y="92"/>
                </a:lnTo>
                <a:close/>
                <a:moveTo>
                  <a:pt x="110" y="106"/>
                </a:moveTo>
                <a:lnTo>
                  <a:pt x="110" y="106"/>
                </a:lnTo>
                <a:lnTo>
                  <a:pt x="110" y="104"/>
                </a:lnTo>
                <a:lnTo>
                  <a:pt x="112" y="104"/>
                </a:lnTo>
                <a:lnTo>
                  <a:pt x="112" y="104"/>
                </a:lnTo>
                <a:lnTo>
                  <a:pt x="110" y="106"/>
                </a:lnTo>
                <a:lnTo>
                  <a:pt x="110" y="106"/>
                </a:lnTo>
                <a:close/>
                <a:moveTo>
                  <a:pt x="94" y="114"/>
                </a:moveTo>
                <a:lnTo>
                  <a:pt x="94" y="114"/>
                </a:lnTo>
                <a:lnTo>
                  <a:pt x="94" y="114"/>
                </a:lnTo>
                <a:lnTo>
                  <a:pt x="94" y="114"/>
                </a:lnTo>
                <a:lnTo>
                  <a:pt x="96" y="114"/>
                </a:lnTo>
                <a:lnTo>
                  <a:pt x="96" y="114"/>
                </a:lnTo>
                <a:lnTo>
                  <a:pt x="94" y="114"/>
                </a:lnTo>
                <a:lnTo>
                  <a:pt x="94" y="114"/>
                </a:lnTo>
                <a:close/>
                <a:moveTo>
                  <a:pt x="98" y="108"/>
                </a:moveTo>
                <a:lnTo>
                  <a:pt x="98" y="108"/>
                </a:lnTo>
                <a:lnTo>
                  <a:pt x="96" y="110"/>
                </a:lnTo>
                <a:lnTo>
                  <a:pt x="94" y="110"/>
                </a:lnTo>
                <a:lnTo>
                  <a:pt x="94" y="110"/>
                </a:lnTo>
                <a:lnTo>
                  <a:pt x="96" y="108"/>
                </a:lnTo>
                <a:lnTo>
                  <a:pt x="96" y="108"/>
                </a:lnTo>
                <a:lnTo>
                  <a:pt x="98" y="108"/>
                </a:lnTo>
                <a:lnTo>
                  <a:pt x="98" y="108"/>
                </a:lnTo>
                <a:close/>
                <a:moveTo>
                  <a:pt x="100" y="78"/>
                </a:moveTo>
                <a:lnTo>
                  <a:pt x="100" y="78"/>
                </a:lnTo>
                <a:lnTo>
                  <a:pt x="102" y="78"/>
                </a:lnTo>
                <a:lnTo>
                  <a:pt x="104" y="78"/>
                </a:lnTo>
                <a:lnTo>
                  <a:pt x="104" y="78"/>
                </a:lnTo>
                <a:lnTo>
                  <a:pt x="104" y="80"/>
                </a:lnTo>
                <a:lnTo>
                  <a:pt x="102" y="80"/>
                </a:lnTo>
                <a:lnTo>
                  <a:pt x="100" y="80"/>
                </a:lnTo>
                <a:lnTo>
                  <a:pt x="100" y="78"/>
                </a:lnTo>
                <a:lnTo>
                  <a:pt x="100" y="78"/>
                </a:lnTo>
                <a:close/>
                <a:moveTo>
                  <a:pt x="86" y="96"/>
                </a:moveTo>
                <a:lnTo>
                  <a:pt x="86" y="96"/>
                </a:lnTo>
                <a:lnTo>
                  <a:pt x="88" y="96"/>
                </a:lnTo>
                <a:lnTo>
                  <a:pt x="88" y="96"/>
                </a:lnTo>
                <a:lnTo>
                  <a:pt x="82" y="98"/>
                </a:lnTo>
                <a:lnTo>
                  <a:pt x="76" y="100"/>
                </a:lnTo>
                <a:lnTo>
                  <a:pt x="76" y="100"/>
                </a:lnTo>
                <a:lnTo>
                  <a:pt x="78" y="98"/>
                </a:lnTo>
                <a:lnTo>
                  <a:pt x="80" y="96"/>
                </a:lnTo>
                <a:lnTo>
                  <a:pt x="84" y="94"/>
                </a:lnTo>
                <a:lnTo>
                  <a:pt x="86" y="96"/>
                </a:lnTo>
                <a:lnTo>
                  <a:pt x="86" y="96"/>
                </a:lnTo>
                <a:close/>
                <a:moveTo>
                  <a:pt x="80" y="106"/>
                </a:moveTo>
                <a:lnTo>
                  <a:pt x="80" y="106"/>
                </a:lnTo>
                <a:lnTo>
                  <a:pt x="80" y="104"/>
                </a:lnTo>
                <a:lnTo>
                  <a:pt x="82" y="104"/>
                </a:lnTo>
                <a:lnTo>
                  <a:pt x="84" y="104"/>
                </a:lnTo>
                <a:lnTo>
                  <a:pt x="84" y="104"/>
                </a:lnTo>
                <a:lnTo>
                  <a:pt x="84" y="108"/>
                </a:lnTo>
                <a:lnTo>
                  <a:pt x="82" y="108"/>
                </a:lnTo>
                <a:lnTo>
                  <a:pt x="82" y="108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close/>
                <a:moveTo>
                  <a:pt x="74" y="100"/>
                </a:moveTo>
                <a:lnTo>
                  <a:pt x="74" y="100"/>
                </a:lnTo>
                <a:lnTo>
                  <a:pt x="70" y="100"/>
                </a:lnTo>
                <a:lnTo>
                  <a:pt x="70" y="96"/>
                </a:lnTo>
                <a:lnTo>
                  <a:pt x="70" y="96"/>
                </a:lnTo>
                <a:lnTo>
                  <a:pt x="74" y="98"/>
                </a:lnTo>
                <a:lnTo>
                  <a:pt x="74" y="100"/>
                </a:lnTo>
                <a:lnTo>
                  <a:pt x="74" y="100"/>
                </a:lnTo>
                <a:close/>
                <a:moveTo>
                  <a:pt x="116" y="196"/>
                </a:moveTo>
                <a:lnTo>
                  <a:pt x="116" y="196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6"/>
                </a:lnTo>
                <a:lnTo>
                  <a:pt x="116" y="196"/>
                </a:lnTo>
                <a:close/>
                <a:moveTo>
                  <a:pt x="122" y="198"/>
                </a:moveTo>
                <a:lnTo>
                  <a:pt x="122" y="198"/>
                </a:lnTo>
                <a:lnTo>
                  <a:pt x="122" y="198"/>
                </a:lnTo>
                <a:lnTo>
                  <a:pt x="122" y="198"/>
                </a:lnTo>
                <a:lnTo>
                  <a:pt x="120" y="200"/>
                </a:lnTo>
                <a:lnTo>
                  <a:pt x="120" y="200"/>
                </a:lnTo>
                <a:lnTo>
                  <a:pt x="118" y="200"/>
                </a:lnTo>
                <a:lnTo>
                  <a:pt x="118" y="200"/>
                </a:lnTo>
                <a:lnTo>
                  <a:pt x="122" y="198"/>
                </a:lnTo>
                <a:lnTo>
                  <a:pt x="122" y="198"/>
                </a:lnTo>
                <a:close/>
                <a:moveTo>
                  <a:pt x="166" y="202"/>
                </a:moveTo>
                <a:lnTo>
                  <a:pt x="166" y="202"/>
                </a:lnTo>
                <a:lnTo>
                  <a:pt x="166" y="202"/>
                </a:lnTo>
                <a:lnTo>
                  <a:pt x="166" y="202"/>
                </a:lnTo>
                <a:lnTo>
                  <a:pt x="156" y="202"/>
                </a:lnTo>
                <a:lnTo>
                  <a:pt x="166" y="202"/>
                </a:lnTo>
                <a:close/>
                <a:moveTo>
                  <a:pt x="250" y="96"/>
                </a:moveTo>
                <a:lnTo>
                  <a:pt x="250" y="96"/>
                </a:lnTo>
                <a:lnTo>
                  <a:pt x="250" y="98"/>
                </a:lnTo>
                <a:lnTo>
                  <a:pt x="250" y="100"/>
                </a:lnTo>
                <a:lnTo>
                  <a:pt x="246" y="104"/>
                </a:lnTo>
                <a:lnTo>
                  <a:pt x="246" y="104"/>
                </a:lnTo>
                <a:lnTo>
                  <a:pt x="242" y="102"/>
                </a:lnTo>
                <a:lnTo>
                  <a:pt x="242" y="98"/>
                </a:lnTo>
                <a:lnTo>
                  <a:pt x="242" y="98"/>
                </a:lnTo>
                <a:lnTo>
                  <a:pt x="246" y="96"/>
                </a:lnTo>
                <a:lnTo>
                  <a:pt x="250" y="96"/>
                </a:lnTo>
                <a:lnTo>
                  <a:pt x="250" y="96"/>
                </a:lnTo>
                <a:close/>
                <a:moveTo>
                  <a:pt x="238" y="124"/>
                </a:moveTo>
                <a:lnTo>
                  <a:pt x="238" y="124"/>
                </a:lnTo>
                <a:lnTo>
                  <a:pt x="236" y="122"/>
                </a:lnTo>
                <a:lnTo>
                  <a:pt x="236" y="120"/>
                </a:lnTo>
                <a:lnTo>
                  <a:pt x="236" y="118"/>
                </a:lnTo>
                <a:lnTo>
                  <a:pt x="236" y="118"/>
                </a:lnTo>
                <a:lnTo>
                  <a:pt x="238" y="118"/>
                </a:lnTo>
                <a:lnTo>
                  <a:pt x="240" y="120"/>
                </a:lnTo>
                <a:lnTo>
                  <a:pt x="240" y="122"/>
                </a:lnTo>
                <a:lnTo>
                  <a:pt x="238" y="124"/>
                </a:lnTo>
                <a:lnTo>
                  <a:pt x="238" y="124"/>
                </a:lnTo>
                <a:close/>
                <a:moveTo>
                  <a:pt x="230" y="84"/>
                </a:moveTo>
                <a:lnTo>
                  <a:pt x="230" y="84"/>
                </a:lnTo>
                <a:lnTo>
                  <a:pt x="234" y="86"/>
                </a:lnTo>
                <a:lnTo>
                  <a:pt x="234" y="88"/>
                </a:lnTo>
                <a:lnTo>
                  <a:pt x="230" y="88"/>
                </a:lnTo>
                <a:lnTo>
                  <a:pt x="230" y="84"/>
                </a:lnTo>
                <a:close/>
                <a:moveTo>
                  <a:pt x="236" y="108"/>
                </a:moveTo>
                <a:lnTo>
                  <a:pt x="236" y="108"/>
                </a:lnTo>
                <a:lnTo>
                  <a:pt x="234" y="110"/>
                </a:lnTo>
                <a:lnTo>
                  <a:pt x="234" y="110"/>
                </a:lnTo>
                <a:lnTo>
                  <a:pt x="230" y="108"/>
                </a:lnTo>
                <a:lnTo>
                  <a:pt x="226" y="106"/>
                </a:lnTo>
                <a:lnTo>
                  <a:pt x="226" y="106"/>
                </a:lnTo>
                <a:lnTo>
                  <a:pt x="224" y="102"/>
                </a:lnTo>
                <a:lnTo>
                  <a:pt x="224" y="96"/>
                </a:lnTo>
                <a:lnTo>
                  <a:pt x="224" y="96"/>
                </a:lnTo>
                <a:lnTo>
                  <a:pt x="226" y="96"/>
                </a:lnTo>
                <a:lnTo>
                  <a:pt x="226" y="98"/>
                </a:lnTo>
                <a:lnTo>
                  <a:pt x="228" y="102"/>
                </a:lnTo>
                <a:lnTo>
                  <a:pt x="228" y="102"/>
                </a:lnTo>
                <a:lnTo>
                  <a:pt x="234" y="102"/>
                </a:lnTo>
                <a:lnTo>
                  <a:pt x="236" y="104"/>
                </a:lnTo>
                <a:lnTo>
                  <a:pt x="236" y="108"/>
                </a:lnTo>
                <a:lnTo>
                  <a:pt x="236" y="108"/>
                </a:lnTo>
                <a:close/>
                <a:moveTo>
                  <a:pt x="228" y="64"/>
                </a:moveTo>
                <a:lnTo>
                  <a:pt x="228" y="64"/>
                </a:lnTo>
                <a:lnTo>
                  <a:pt x="228" y="66"/>
                </a:lnTo>
                <a:lnTo>
                  <a:pt x="228" y="68"/>
                </a:lnTo>
                <a:lnTo>
                  <a:pt x="226" y="70"/>
                </a:lnTo>
                <a:lnTo>
                  <a:pt x="226" y="70"/>
                </a:lnTo>
                <a:lnTo>
                  <a:pt x="226" y="70"/>
                </a:lnTo>
                <a:lnTo>
                  <a:pt x="224" y="70"/>
                </a:lnTo>
                <a:lnTo>
                  <a:pt x="224" y="68"/>
                </a:lnTo>
                <a:lnTo>
                  <a:pt x="222" y="68"/>
                </a:lnTo>
                <a:lnTo>
                  <a:pt x="222" y="68"/>
                </a:lnTo>
                <a:lnTo>
                  <a:pt x="224" y="66"/>
                </a:lnTo>
                <a:lnTo>
                  <a:pt x="228" y="64"/>
                </a:lnTo>
                <a:lnTo>
                  <a:pt x="228" y="64"/>
                </a:lnTo>
                <a:close/>
                <a:moveTo>
                  <a:pt x="212" y="54"/>
                </a:moveTo>
                <a:lnTo>
                  <a:pt x="212" y="54"/>
                </a:lnTo>
                <a:lnTo>
                  <a:pt x="218" y="56"/>
                </a:lnTo>
                <a:lnTo>
                  <a:pt x="222" y="62"/>
                </a:lnTo>
                <a:lnTo>
                  <a:pt x="222" y="62"/>
                </a:lnTo>
                <a:lnTo>
                  <a:pt x="214" y="60"/>
                </a:lnTo>
                <a:lnTo>
                  <a:pt x="212" y="58"/>
                </a:lnTo>
                <a:lnTo>
                  <a:pt x="212" y="54"/>
                </a:lnTo>
                <a:lnTo>
                  <a:pt x="212" y="54"/>
                </a:lnTo>
                <a:close/>
                <a:moveTo>
                  <a:pt x="214" y="74"/>
                </a:moveTo>
                <a:lnTo>
                  <a:pt x="214" y="74"/>
                </a:lnTo>
                <a:lnTo>
                  <a:pt x="214" y="70"/>
                </a:lnTo>
                <a:lnTo>
                  <a:pt x="212" y="68"/>
                </a:lnTo>
                <a:lnTo>
                  <a:pt x="214" y="66"/>
                </a:lnTo>
                <a:lnTo>
                  <a:pt x="214" y="66"/>
                </a:lnTo>
                <a:lnTo>
                  <a:pt x="216" y="68"/>
                </a:lnTo>
                <a:lnTo>
                  <a:pt x="218" y="68"/>
                </a:lnTo>
                <a:lnTo>
                  <a:pt x="218" y="68"/>
                </a:lnTo>
                <a:lnTo>
                  <a:pt x="216" y="72"/>
                </a:lnTo>
                <a:lnTo>
                  <a:pt x="216" y="76"/>
                </a:lnTo>
                <a:lnTo>
                  <a:pt x="216" y="76"/>
                </a:lnTo>
                <a:lnTo>
                  <a:pt x="222" y="74"/>
                </a:lnTo>
                <a:lnTo>
                  <a:pt x="226" y="74"/>
                </a:lnTo>
                <a:lnTo>
                  <a:pt x="230" y="74"/>
                </a:lnTo>
                <a:lnTo>
                  <a:pt x="230" y="74"/>
                </a:lnTo>
                <a:lnTo>
                  <a:pt x="230" y="76"/>
                </a:lnTo>
                <a:lnTo>
                  <a:pt x="228" y="78"/>
                </a:lnTo>
                <a:lnTo>
                  <a:pt x="228" y="78"/>
                </a:lnTo>
                <a:lnTo>
                  <a:pt x="224" y="78"/>
                </a:lnTo>
                <a:lnTo>
                  <a:pt x="224" y="78"/>
                </a:lnTo>
                <a:lnTo>
                  <a:pt x="220" y="82"/>
                </a:lnTo>
                <a:lnTo>
                  <a:pt x="220" y="82"/>
                </a:lnTo>
                <a:lnTo>
                  <a:pt x="214" y="78"/>
                </a:lnTo>
                <a:lnTo>
                  <a:pt x="214" y="78"/>
                </a:lnTo>
                <a:lnTo>
                  <a:pt x="212" y="78"/>
                </a:lnTo>
                <a:lnTo>
                  <a:pt x="208" y="78"/>
                </a:lnTo>
                <a:lnTo>
                  <a:pt x="208" y="78"/>
                </a:lnTo>
                <a:lnTo>
                  <a:pt x="208" y="76"/>
                </a:lnTo>
                <a:lnTo>
                  <a:pt x="208" y="72"/>
                </a:lnTo>
                <a:lnTo>
                  <a:pt x="208" y="72"/>
                </a:lnTo>
                <a:lnTo>
                  <a:pt x="212" y="74"/>
                </a:lnTo>
                <a:lnTo>
                  <a:pt x="214" y="74"/>
                </a:lnTo>
                <a:lnTo>
                  <a:pt x="214" y="74"/>
                </a:lnTo>
                <a:close/>
                <a:moveTo>
                  <a:pt x="198" y="30"/>
                </a:moveTo>
                <a:lnTo>
                  <a:pt x="198" y="30"/>
                </a:lnTo>
                <a:lnTo>
                  <a:pt x="200" y="30"/>
                </a:lnTo>
                <a:lnTo>
                  <a:pt x="200" y="32"/>
                </a:lnTo>
                <a:lnTo>
                  <a:pt x="200" y="36"/>
                </a:lnTo>
                <a:lnTo>
                  <a:pt x="200" y="36"/>
                </a:lnTo>
                <a:lnTo>
                  <a:pt x="202" y="44"/>
                </a:lnTo>
                <a:lnTo>
                  <a:pt x="208" y="44"/>
                </a:lnTo>
                <a:lnTo>
                  <a:pt x="208" y="44"/>
                </a:lnTo>
                <a:lnTo>
                  <a:pt x="206" y="48"/>
                </a:lnTo>
                <a:lnTo>
                  <a:pt x="206" y="50"/>
                </a:lnTo>
                <a:lnTo>
                  <a:pt x="200" y="54"/>
                </a:lnTo>
                <a:lnTo>
                  <a:pt x="200" y="54"/>
                </a:lnTo>
                <a:lnTo>
                  <a:pt x="198" y="52"/>
                </a:lnTo>
                <a:lnTo>
                  <a:pt x="198" y="52"/>
                </a:lnTo>
                <a:lnTo>
                  <a:pt x="200" y="48"/>
                </a:lnTo>
                <a:lnTo>
                  <a:pt x="202" y="46"/>
                </a:lnTo>
                <a:lnTo>
                  <a:pt x="202" y="46"/>
                </a:lnTo>
                <a:lnTo>
                  <a:pt x="200" y="44"/>
                </a:lnTo>
                <a:lnTo>
                  <a:pt x="198" y="44"/>
                </a:lnTo>
                <a:lnTo>
                  <a:pt x="198" y="44"/>
                </a:lnTo>
                <a:lnTo>
                  <a:pt x="198" y="40"/>
                </a:lnTo>
                <a:lnTo>
                  <a:pt x="196" y="38"/>
                </a:lnTo>
                <a:lnTo>
                  <a:pt x="194" y="36"/>
                </a:lnTo>
                <a:lnTo>
                  <a:pt x="192" y="34"/>
                </a:lnTo>
                <a:lnTo>
                  <a:pt x="192" y="34"/>
                </a:lnTo>
                <a:lnTo>
                  <a:pt x="196" y="32"/>
                </a:lnTo>
                <a:lnTo>
                  <a:pt x="198" y="30"/>
                </a:lnTo>
                <a:lnTo>
                  <a:pt x="198" y="30"/>
                </a:lnTo>
                <a:close/>
                <a:moveTo>
                  <a:pt x="188" y="70"/>
                </a:moveTo>
                <a:lnTo>
                  <a:pt x="188" y="70"/>
                </a:lnTo>
                <a:lnTo>
                  <a:pt x="184" y="68"/>
                </a:lnTo>
                <a:lnTo>
                  <a:pt x="182" y="66"/>
                </a:lnTo>
                <a:lnTo>
                  <a:pt x="182" y="62"/>
                </a:lnTo>
                <a:lnTo>
                  <a:pt x="182" y="62"/>
                </a:lnTo>
                <a:lnTo>
                  <a:pt x="186" y="62"/>
                </a:lnTo>
                <a:lnTo>
                  <a:pt x="188" y="64"/>
                </a:lnTo>
                <a:lnTo>
                  <a:pt x="188" y="68"/>
                </a:lnTo>
                <a:lnTo>
                  <a:pt x="188" y="70"/>
                </a:lnTo>
                <a:lnTo>
                  <a:pt x="188" y="70"/>
                </a:lnTo>
                <a:close/>
                <a:moveTo>
                  <a:pt x="178" y="24"/>
                </a:moveTo>
                <a:lnTo>
                  <a:pt x="178" y="24"/>
                </a:lnTo>
                <a:lnTo>
                  <a:pt x="180" y="24"/>
                </a:lnTo>
                <a:lnTo>
                  <a:pt x="182" y="26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2" y="32"/>
                </a:lnTo>
                <a:lnTo>
                  <a:pt x="182" y="32"/>
                </a:lnTo>
                <a:lnTo>
                  <a:pt x="180" y="30"/>
                </a:lnTo>
                <a:lnTo>
                  <a:pt x="176" y="28"/>
                </a:lnTo>
                <a:lnTo>
                  <a:pt x="176" y="28"/>
                </a:lnTo>
                <a:lnTo>
                  <a:pt x="178" y="24"/>
                </a:lnTo>
                <a:lnTo>
                  <a:pt x="178" y="24"/>
                </a:lnTo>
                <a:close/>
                <a:moveTo>
                  <a:pt x="180" y="40"/>
                </a:moveTo>
                <a:lnTo>
                  <a:pt x="180" y="40"/>
                </a:lnTo>
                <a:lnTo>
                  <a:pt x="170" y="40"/>
                </a:lnTo>
                <a:lnTo>
                  <a:pt x="170" y="40"/>
                </a:lnTo>
                <a:lnTo>
                  <a:pt x="176" y="36"/>
                </a:lnTo>
                <a:lnTo>
                  <a:pt x="180" y="38"/>
                </a:lnTo>
                <a:lnTo>
                  <a:pt x="180" y="40"/>
                </a:lnTo>
                <a:lnTo>
                  <a:pt x="180" y="40"/>
                </a:lnTo>
                <a:close/>
                <a:moveTo>
                  <a:pt x="164" y="54"/>
                </a:moveTo>
                <a:lnTo>
                  <a:pt x="168" y="54"/>
                </a:lnTo>
                <a:lnTo>
                  <a:pt x="168" y="54"/>
                </a:lnTo>
                <a:lnTo>
                  <a:pt x="168" y="56"/>
                </a:lnTo>
                <a:lnTo>
                  <a:pt x="168" y="58"/>
                </a:lnTo>
                <a:lnTo>
                  <a:pt x="166" y="60"/>
                </a:lnTo>
                <a:lnTo>
                  <a:pt x="164" y="58"/>
                </a:lnTo>
                <a:lnTo>
                  <a:pt x="164" y="56"/>
                </a:lnTo>
                <a:lnTo>
                  <a:pt x="164" y="54"/>
                </a:lnTo>
                <a:lnTo>
                  <a:pt x="164" y="54"/>
                </a:lnTo>
                <a:close/>
                <a:moveTo>
                  <a:pt x="158" y="64"/>
                </a:moveTo>
                <a:lnTo>
                  <a:pt x="162" y="64"/>
                </a:lnTo>
                <a:lnTo>
                  <a:pt x="162" y="64"/>
                </a:lnTo>
                <a:lnTo>
                  <a:pt x="162" y="68"/>
                </a:lnTo>
                <a:lnTo>
                  <a:pt x="162" y="68"/>
                </a:lnTo>
                <a:lnTo>
                  <a:pt x="168" y="70"/>
                </a:lnTo>
                <a:lnTo>
                  <a:pt x="168" y="70"/>
                </a:lnTo>
                <a:lnTo>
                  <a:pt x="166" y="74"/>
                </a:lnTo>
                <a:lnTo>
                  <a:pt x="166" y="80"/>
                </a:lnTo>
                <a:lnTo>
                  <a:pt x="162" y="80"/>
                </a:lnTo>
                <a:lnTo>
                  <a:pt x="162" y="80"/>
                </a:lnTo>
                <a:lnTo>
                  <a:pt x="160" y="78"/>
                </a:lnTo>
                <a:lnTo>
                  <a:pt x="160" y="76"/>
                </a:lnTo>
                <a:lnTo>
                  <a:pt x="160" y="76"/>
                </a:lnTo>
                <a:lnTo>
                  <a:pt x="160" y="72"/>
                </a:lnTo>
                <a:lnTo>
                  <a:pt x="160" y="68"/>
                </a:lnTo>
                <a:lnTo>
                  <a:pt x="158" y="64"/>
                </a:lnTo>
                <a:lnTo>
                  <a:pt x="158" y="64"/>
                </a:lnTo>
                <a:close/>
                <a:moveTo>
                  <a:pt x="150" y="92"/>
                </a:moveTo>
                <a:lnTo>
                  <a:pt x="150" y="92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2"/>
                </a:lnTo>
                <a:lnTo>
                  <a:pt x="150" y="92"/>
                </a:lnTo>
                <a:close/>
                <a:moveTo>
                  <a:pt x="146" y="58"/>
                </a:moveTo>
                <a:lnTo>
                  <a:pt x="146" y="58"/>
                </a:lnTo>
                <a:lnTo>
                  <a:pt x="142" y="56"/>
                </a:lnTo>
                <a:lnTo>
                  <a:pt x="142" y="56"/>
                </a:lnTo>
                <a:lnTo>
                  <a:pt x="144" y="54"/>
                </a:lnTo>
                <a:lnTo>
                  <a:pt x="146" y="52"/>
                </a:lnTo>
                <a:lnTo>
                  <a:pt x="146" y="52"/>
                </a:lnTo>
                <a:lnTo>
                  <a:pt x="148" y="56"/>
                </a:lnTo>
                <a:lnTo>
                  <a:pt x="146" y="58"/>
                </a:lnTo>
                <a:lnTo>
                  <a:pt x="146" y="58"/>
                </a:lnTo>
                <a:close/>
                <a:moveTo>
                  <a:pt x="142" y="16"/>
                </a:moveTo>
                <a:lnTo>
                  <a:pt x="142" y="16"/>
                </a:lnTo>
                <a:lnTo>
                  <a:pt x="140" y="20"/>
                </a:lnTo>
                <a:lnTo>
                  <a:pt x="136" y="22"/>
                </a:lnTo>
                <a:lnTo>
                  <a:pt x="136" y="22"/>
                </a:lnTo>
                <a:lnTo>
                  <a:pt x="136" y="18"/>
                </a:lnTo>
                <a:lnTo>
                  <a:pt x="136" y="16"/>
                </a:lnTo>
                <a:lnTo>
                  <a:pt x="138" y="14"/>
                </a:lnTo>
                <a:lnTo>
                  <a:pt x="142" y="16"/>
                </a:lnTo>
                <a:lnTo>
                  <a:pt x="142" y="16"/>
                </a:lnTo>
                <a:close/>
                <a:moveTo>
                  <a:pt x="130" y="30"/>
                </a:moveTo>
                <a:lnTo>
                  <a:pt x="130" y="30"/>
                </a:lnTo>
                <a:lnTo>
                  <a:pt x="136" y="32"/>
                </a:lnTo>
                <a:lnTo>
                  <a:pt x="140" y="32"/>
                </a:lnTo>
                <a:lnTo>
                  <a:pt x="144" y="32"/>
                </a:lnTo>
                <a:lnTo>
                  <a:pt x="144" y="32"/>
                </a:lnTo>
                <a:lnTo>
                  <a:pt x="146" y="34"/>
                </a:lnTo>
                <a:lnTo>
                  <a:pt x="146" y="34"/>
                </a:lnTo>
                <a:lnTo>
                  <a:pt x="146" y="36"/>
                </a:lnTo>
                <a:lnTo>
                  <a:pt x="144" y="36"/>
                </a:lnTo>
                <a:lnTo>
                  <a:pt x="144" y="36"/>
                </a:lnTo>
                <a:lnTo>
                  <a:pt x="142" y="38"/>
                </a:lnTo>
                <a:lnTo>
                  <a:pt x="142" y="38"/>
                </a:lnTo>
                <a:lnTo>
                  <a:pt x="140" y="36"/>
                </a:lnTo>
                <a:lnTo>
                  <a:pt x="138" y="34"/>
                </a:lnTo>
                <a:lnTo>
                  <a:pt x="130" y="36"/>
                </a:lnTo>
                <a:lnTo>
                  <a:pt x="130" y="36"/>
                </a:lnTo>
                <a:lnTo>
                  <a:pt x="128" y="32"/>
                </a:lnTo>
                <a:lnTo>
                  <a:pt x="130" y="30"/>
                </a:lnTo>
                <a:lnTo>
                  <a:pt x="130" y="30"/>
                </a:lnTo>
                <a:close/>
                <a:moveTo>
                  <a:pt x="126" y="40"/>
                </a:moveTo>
                <a:lnTo>
                  <a:pt x="126" y="40"/>
                </a:lnTo>
                <a:lnTo>
                  <a:pt x="128" y="44"/>
                </a:lnTo>
                <a:lnTo>
                  <a:pt x="128" y="48"/>
                </a:lnTo>
                <a:lnTo>
                  <a:pt x="128" y="48"/>
                </a:lnTo>
                <a:lnTo>
                  <a:pt x="132" y="48"/>
                </a:lnTo>
                <a:lnTo>
                  <a:pt x="134" y="46"/>
                </a:lnTo>
                <a:lnTo>
                  <a:pt x="134" y="42"/>
                </a:lnTo>
                <a:lnTo>
                  <a:pt x="134" y="42"/>
                </a:lnTo>
                <a:lnTo>
                  <a:pt x="136" y="44"/>
                </a:lnTo>
                <a:lnTo>
                  <a:pt x="138" y="46"/>
                </a:lnTo>
                <a:lnTo>
                  <a:pt x="144" y="48"/>
                </a:lnTo>
                <a:lnTo>
                  <a:pt x="144" y="48"/>
                </a:lnTo>
                <a:lnTo>
                  <a:pt x="134" y="50"/>
                </a:lnTo>
                <a:lnTo>
                  <a:pt x="130" y="50"/>
                </a:lnTo>
                <a:lnTo>
                  <a:pt x="126" y="48"/>
                </a:lnTo>
                <a:lnTo>
                  <a:pt x="126" y="48"/>
                </a:lnTo>
                <a:lnTo>
                  <a:pt x="126" y="46"/>
                </a:lnTo>
                <a:lnTo>
                  <a:pt x="126" y="44"/>
                </a:lnTo>
                <a:lnTo>
                  <a:pt x="126" y="40"/>
                </a:lnTo>
                <a:lnTo>
                  <a:pt x="126" y="40"/>
                </a:lnTo>
                <a:close/>
                <a:moveTo>
                  <a:pt x="104" y="62"/>
                </a:moveTo>
                <a:lnTo>
                  <a:pt x="104" y="62"/>
                </a:lnTo>
                <a:lnTo>
                  <a:pt x="102" y="68"/>
                </a:lnTo>
                <a:lnTo>
                  <a:pt x="98" y="68"/>
                </a:lnTo>
                <a:lnTo>
                  <a:pt x="98" y="68"/>
                </a:lnTo>
                <a:lnTo>
                  <a:pt x="100" y="64"/>
                </a:lnTo>
                <a:lnTo>
                  <a:pt x="104" y="62"/>
                </a:lnTo>
                <a:lnTo>
                  <a:pt x="104" y="62"/>
                </a:lnTo>
                <a:close/>
                <a:moveTo>
                  <a:pt x="78" y="88"/>
                </a:moveTo>
                <a:lnTo>
                  <a:pt x="78" y="88"/>
                </a:lnTo>
                <a:lnTo>
                  <a:pt x="82" y="86"/>
                </a:lnTo>
                <a:lnTo>
                  <a:pt x="86" y="86"/>
                </a:lnTo>
                <a:lnTo>
                  <a:pt x="88" y="84"/>
                </a:lnTo>
                <a:lnTo>
                  <a:pt x="88" y="84"/>
                </a:lnTo>
                <a:lnTo>
                  <a:pt x="90" y="86"/>
                </a:lnTo>
                <a:lnTo>
                  <a:pt x="90" y="86"/>
                </a:lnTo>
                <a:lnTo>
                  <a:pt x="82" y="90"/>
                </a:lnTo>
                <a:lnTo>
                  <a:pt x="74" y="92"/>
                </a:lnTo>
                <a:lnTo>
                  <a:pt x="74" y="92"/>
                </a:lnTo>
                <a:lnTo>
                  <a:pt x="74" y="90"/>
                </a:lnTo>
                <a:lnTo>
                  <a:pt x="74" y="86"/>
                </a:lnTo>
                <a:lnTo>
                  <a:pt x="72" y="86"/>
                </a:lnTo>
                <a:lnTo>
                  <a:pt x="72" y="84"/>
                </a:lnTo>
                <a:lnTo>
                  <a:pt x="72" y="84"/>
                </a:lnTo>
                <a:lnTo>
                  <a:pt x="74" y="84"/>
                </a:lnTo>
                <a:lnTo>
                  <a:pt x="76" y="84"/>
                </a:lnTo>
                <a:lnTo>
                  <a:pt x="78" y="88"/>
                </a:lnTo>
                <a:lnTo>
                  <a:pt x="78" y="88"/>
                </a:lnTo>
                <a:close/>
                <a:moveTo>
                  <a:pt x="74" y="54"/>
                </a:moveTo>
                <a:lnTo>
                  <a:pt x="74" y="54"/>
                </a:lnTo>
                <a:lnTo>
                  <a:pt x="76" y="58"/>
                </a:lnTo>
                <a:lnTo>
                  <a:pt x="74" y="62"/>
                </a:lnTo>
                <a:lnTo>
                  <a:pt x="74" y="62"/>
                </a:lnTo>
                <a:lnTo>
                  <a:pt x="70" y="60"/>
                </a:lnTo>
                <a:lnTo>
                  <a:pt x="70" y="58"/>
                </a:lnTo>
                <a:lnTo>
                  <a:pt x="70" y="54"/>
                </a:lnTo>
                <a:lnTo>
                  <a:pt x="74" y="54"/>
                </a:lnTo>
                <a:lnTo>
                  <a:pt x="74" y="54"/>
                </a:lnTo>
                <a:close/>
                <a:moveTo>
                  <a:pt x="62" y="110"/>
                </a:moveTo>
                <a:lnTo>
                  <a:pt x="62" y="110"/>
                </a:lnTo>
                <a:lnTo>
                  <a:pt x="62" y="110"/>
                </a:lnTo>
                <a:lnTo>
                  <a:pt x="64" y="110"/>
                </a:lnTo>
                <a:lnTo>
                  <a:pt x="64" y="110"/>
                </a:lnTo>
                <a:lnTo>
                  <a:pt x="66" y="110"/>
                </a:lnTo>
                <a:lnTo>
                  <a:pt x="66" y="112"/>
                </a:lnTo>
                <a:lnTo>
                  <a:pt x="66" y="112"/>
                </a:lnTo>
                <a:lnTo>
                  <a:pt x="64" y="114"/>
                </a:lnTo>
                <a:lnTo>
                  <a:pt x="62" y="114"/>
                </a:lnTo>
                <a:lnTo>
                  <a:pt x="62" y="114"/>
                </a:lnTo>
                <a:lnTo>
                  <a:pt x="62" y="112"/>
                </a:lnTo>
                <a:lnTo>
                  <a:pt x="62" y="110"/>
                </a:lnTo>
                <a:close/>
                <a:moveTo>
                  <a:pt x="48" y="84"/>
                </a:moveTo>
                <a:lnTo>
                  <a:pt x="48" y="84"/>
                </a:lnTo>
                <a:lnTo>
                  <a:pt x="50" y="84"/>
                </a:lnTo>
                <a:lnTo>
                  <a:pt x="52" y="86"/>
                </a:lnTo>
                <a:lnTo>
                  <a:pt x="52" y="86"/>
                </a:lnTo>
                <a:lnTo>
                  <a:pt x="52" y="88"/>
                </a:lnTo>
                <a:lnTo>
                  <a:pt x="52" y="88"/>
                </a:lnTo>
                <a:lnTo>
                  <a:pt x="48" y="88"/>
                </a:lnTo>
                <a:lnTo>
                  <a:pt x="48" y="88"/>
                </a:lnTo>
                <a:lnTo>
                  <a:pt x="48" y="84"/>
                </a:lnTo>
                <a:lnTo>
                  <a:pt x="48" y="84"/>
                </a:lnTo>
                <a:close/>
                <a:moveTo>
                  <a:pt x="36" y="120"/>
                </a:moveTo>
                <a:lnTo>
                  <a:pt x="36" y="120"/>
                </a:lnTo>
                <a:lnTo>
                  <a:pt x="38" y="122"/>
                </a:lnTo>
                <a:lnTo>
                  <a:pt x="38" y="124"/>
                </a:lnTo>
                <a:lnTo>
                  <a:pt x="36" y="126"/>
                </a:lnTo>
                <a:lnTo>
                  <a:pt x="34" y="126"/>
                </a:lnTo>
                <a:lnTo>
                  <a:pt x="34" y="126"/>
                </a:lnTo>
                <a:lnTo>
                  <a:pt x="32" y="124"/>
                </a:lnTo>
                <a:lnTo>
                  <a:pt x="34" y="122"/>
                </a:lnTo>
                <a:lnTo>
                  <a:pt x="36" y="120"/>
                </a:lnTo>
                <a:lnTo>
                  <a:pt x="36" y="120"/>
                </a:lnTo>
                <a:close/>
                <a:moveTo>
                  <a:pt x="32" y="166"/>
                </a:moveTo>
                <a:lnTo>
                  <a:pt x="32" y="166"/>
                </a:lnTo>
                <a:lnTo>
                  <a:pt x="34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72"/>
                </a:lnTo>
                <a:lnTo>
                  <a:pt x="36" y="172"/>
                </a:lnTo>
                <a:lnTo>
                  <a:pt x="32" y="172"/>
                </a:lnTo>
                <a:lnTo>
                  <a:pt x="32" y="170"/>
                </a:lnTo>
                <a:lnTo>
                  <a:pt x="32" y="166"/>
                </a:lnTo>
                <a:lnTo>
                  <a:pt x="32" y="166"/>
                </a:lnTo>
                <a:close/>
                <a:moveTo>
                  <a:pt x="40" y="236"/>
                </a:moveTo>
                <a:lnTo>
                  <a:pt x="36" y="236"/>
                </a:lnTo>
                <a:lnTo>
                  <a:pt x="36" y="234"/>
                </a:lnTo>
                <a:lnTo>
                  <a:pt x="40" y="234"/>
                </a:lnTo>
                <a:lnTo>
                  <a:pt x="40" y="234"/>
                </a:lnTo>
                <a:lnTo>
                  <a:pt x="40" y="236"/>
                </a:lnTo>
                <a:lnTo>
                  <a:pt x="40" y="236"/>
                </a:lnTo>
                <a:close/>
                <a:moveTo>
                  <a:pt x="56" y="228"/>
                </a:moveTo>
                <a:lnTo>
                  <a:pt x="56" y="228"/>
                </a:lnTo>
                <a:lnTo>
                  <a:pt x="52" y="228"/>
                </a:lnTo>
                <a:lnTo>
                  <a:pt x="50" y="226"/>
                </a:lnTo>
                <a:lnTo>
                  <a:pt x="48" y="222"/>
                </a:lnTo>
                <a:lnTo>
                  <a:pt x="48" y="218"/>
                </a:lnTo>
                <a:lnTo>
                  <a:pt x="48" y="218"/>
                </a:lnTo>
                <a:lnTo>
                  <a:pt x="52" y="220"/>
                </a:lnTo>
                <a:lnTo>
                  <a:pt x="54" y="222"/>
                </a:lnTo>
                <a:lnTo>
                  <a:pt x="56" y="224"/>
                </a:lnTo>
                <a:lnTo>
                  <a:pt x="56" y="228"/>
                </a:lnTo>
                <a:lnTo>
                  <a:pt x="56" y="228"/>
                </a:lnTo>
                <a:close/>
                <a:moveTo>
                  <a:pt x="64" y="220"/>
                </a:moveTo>
                <a:lnTo>
                  <a:pt x="64" y="220"/>
                </a:lnTo>
                <a:lnTo>
                  <a:pt x="62" y="222"/>
                </a:lnTo>
                <a:lnTo>
                  <a:pt x="62" y="222"/>
                </a:lnTo>
                <a:lnTo>
                  <a:pt x="60" y="222"/>
                </a:lnTo>
                <a:lnTo>
                  <a:pt x="60" y="222"/>
                </a:lnTo>
                <a:lnTo>
                  <a:pt x="58" y="220"/>
                </a:lnTo>
                <a:lnTo>
                  <a:pt x="60" y="218"/>
                </a:lnTo>
                <a:lnTo>
                  <a:pt x="60" y="212"/>
                </a:lnTo>
                <a:lnTo>
                  <a:pt x="60" y="212"/>
                </a:lnTo>
                <a:lnTo>
                  <a:pt x="66" y="214"/>
                </a:lnTo>
                <a:lnTo>
                  <a:pt x="72" y="216"/>
                </a:lnTo>
                <a:lnTo>
                  <a:pt x="72" y="216"/>
                </a:lnTo>
                <a:lnTo>
                  <a:pt x="72" y="218"/>
                </a:lnTo>
                <a:lnTo>
                  <a:pt x="70" y="220"/>
                </a:lnTo>
                <a:lnTo>
                  <a:pt x="66" y="220"/>
                </a:lnTo>
                <a:lnTo>
                  <a:pt x="64" y="220"/>
                </a:lnTo>
                <a:lnTo>
                  <a:pt x="64" y="220"/>
                </a:lnTo>
                <a:close/>
                <a:moveTo>
                  <a:pt x="80" y="240"/>
                </a:moveTo>
                <a:lnTo>
                  <a:pt x="80" y="240"/>
                </a:lnTo>
                <a:lnTo>
                  <a:pt x="82" y="242"/>
                </a:lnTo>
                <a:lnTo>
                  <a:pt x="84" y="244"/>
                </a:lnTo>
                <a:lnTo>
                  <a:pt x="84" y="244"/>
                </a:lnTo>
                <a:lnTo>
                  <a:pt x="80" y="244"/>
                </a:lnTo>
                <a:lnTo>
                  <a:pt x="78" y="242"/>
                </a:lnTo>
                <a:lnTo>
                  <a:pt x="78" y="242"/>
                </a:lnTo>
                <a:lnTo>
                  <a:pt x="80" y="240"/>
                </a:lnTo>
                <a:lnTo>
                  <a:pt x="80" y="240"/>
                </a:lnTo>
                <a:close/>
                <a:moveTo>
                  <a:pt x="82" y="278"/>
                </a:moveTo>
                <a:lnTo>
                  <a:pt x="82" y="278"/>
                </a:lnTo>
                <a:lnTo>
                  <a:pt x="82" y="274"/>
                </a:lnTo>
                <a:lnTo>
                  <a:pt x="82" y="272"/>
                </a:lnTo>
                <a:lnTo>
                  <a:pt x="82" y="272"/>
                </a:lnTo>
                <a:lnTo>
                  <a:pt x="88" y="272"/>
                </a:lnTo>
                <a:lnTo>
                  <a:pt x="88" y="272"/>
                </a:lnTo>
                <a:lnTo>
                  <a:pt x="86" y="276"/>
                </a:lnTo>
                <a:lnTo>
                  <a:pt x="84" y="278"/>
                </a:lnTo>
                <a:lnTo>
                  <a:pt x="82" y="278"/>
                </a:lnTo>
                <a:lnTo>
                  <a:pt x="82" y="278"/>
                </a:lnTo>
                <a:close/>
                <a:moveTo>
                  <a:pt x="98" y="258"/>
                </a:moveTo>
                <a:lnTo>
                  <a:pt x="98" y="258"/>
                </a:lnTo>
                <a:lnTo>
                  <a:pt x="98" y="260"/>
                </a:lnTo>
                <a:lnTo>
                  <a:pt x="96" y="262"/>
                </a:lnTo>
                <a:lnTo>
                  <a:pt x="92" y="264"/>
                </a:lnTo>
                <a:lnTo>
                  <a:pt x="92" y="264"/>
                </a:lnTo>
                <a:lnTo>
                  <a:pt x="94" y="260"/>
                </a:lnTo>
                <a:lnTo>
                  <a:pt x="98" y="258"/>
                </a:lnTo>
                <a:lnTo>
                  <a:pt x="98" y="258"/>
                </a:lnTo>
                <a:close/>
                <a:moveTo>
                  <a:pt x="104" y="284"/>
                </a:moveTo>
                <a:lnTo>
                  <a:pt x="104" y="284"/>
                </a:lnTo>
                <a:lnTo>
                  <a:pt x="98" y="278"/>
                </a:lnTo>
                <a:lnTo>
                  <a:pt x="94" y="276"/>
                </a:lnTo>
                <a:lnTo>
                  <a:pt x="92" y="274"/>
                </a:lnTo>
                <a:lnTo>
                  <a:pt x="92" y="274"/>
                </a:lnTo>
                <a:lnTo>
                  <a:pt x="98" y="272"/>
                </a:lnTo>
                <a:lnTo>
                  <a:pt x="98" y="272"/>
                </a:lnTo>
                <a:lnTo>
                  <a:pt x="100" y="278"/>
                </a:lnTo>
                <a:lnTo>
                  <a:pt x="104" y="280"/>
                </a:lnTo>
                <a:lnTo>
                  <a:pt x="104" y="280"/>
                </a:lnTo>
                <a:lnTo>
                  <a:pt x="106" y="278"/>
                </a:lnTo>
                <a:lnTo>
                  <a:pt x="110" y="278"/>
                </a:lnTo>
                <a:lnTo>
                  <a:pt x="110" y="278"/>
                </a:lnTo>
                <a:lnTo>
                  <a:pt x="110" y="280"/>
                </a:lnTo>
                <a:lnTo>
                  <a:pt x="108" y="280"/>
                </a:lnTo>
                <a:lnTo>
                  <a:pt x="106" y="282"/>
                </a:lnTo>
                <a:lnTo>
                  <a:pt x="104" y="284"/>
                </a:lnTo>
                <a:lnTo>
                  <a:pt x="104" y="284"/>
                </a:lnTo>
                <a:close/>
                <a:moveTo>
                  <a:pt x="116" y="272"/>
                </a:moveTo>
                <a:lnTo>
                  <a:pt x="116" y="272"/>
                </a:lnTo>
                <a:lnTo>
                  <a:pt x="114" y="270"/>
                </a:lnTo>
                <a:lnTo>
                  <a:pt x="114" y="268"/>
                </a:lnTo>
                <a:lnTo>
                  <a:pt x="114" y="268"/>
                </a:lnTo>
                <a:lnTo>
                  <a:pt x="116" y="268"/>
                </a:lnTo>
                <a:lnTo>
                  <a:pt x="116" y="268"/>
                </a:lnTo>
                <a:lnTo>
                  <a:pt x="116" y="272"/>
                </a:lnTo>
                <a:lnTo>
                  <a:pt x="116" y="272"/>
                </a:lnTo>
                <a:close/>
                <a:moveTo>
                  <a:pt x="108" y="266"/>
                </a:moveTo>
                <a:lnTo>
                  <a:pt x="108" y="266"/>
                </a:lnTo>
                <a:lnTo>
                  <a:pt x="104" y="262"/>
                </a:lnTo>
                <a:lnTo>
                  <a:pt x="100" y="258"/>
                </a:lnTo>
                <a:lnTo>
                  <a:pt x="100" y="258"/>
                </a:lnTo>
                <a:lnTo>
                  <a:pt x="100" y="256"/>
                </a:lnTo>
                <a:lnTo>
                  <a:pt x="102" y="254"/>
                </a:lnTo>
                <a:lnTo>
                  <a:pt x="102" y="254"/>
                </a:lnTo>
                <a:lnTo>
                  <a:pt x="106" y="256"/>
                </a:lnTo>
                <a:lnTo>
                  <a:pt x="108" y="260"/>
                </a:lnTo>
                <a:lnTo>
                  <a:pt x="108" y="260"/>
                </a:lnTo>
                <a:lnTo>
                  <a:pt x="110" y="258"/>
                </a:lnTo>
                <a:lnTo>
                  <a:pt x="112" y="256"/>
                </a:lnTo>
                <a:lnTo>
                  <a:pt x="112" y="256"/>
                </a:lnTo>
                <a:lnTo>
                  <a:pt x="116" y="256"/>
                </a:lnTo>
                <a:lnTo>
                  <a:pt x="118" y="256"/>
                </a:lnTo>
                <a:lnTo>
                  <a:pt x="118" y="256"/>
                </a:lnTo>
                <a:lnTo>
                  <a:pt x="116" y="262"/>
                </a:lnTo>
                <a:lnTo>
                  <a:pt x="114" y="262"/>
                </a:lnTo>
                <a:lnTo>
                  <a:pt x="110" y="262"/>
                </a:lnTo>
                <a:lnTo>
                  <a:pt x="108" y="266"/>
                </a:lnTo>
                <a:lnTo>
                  <a:pt x="108" y="266"/>
                </a:lnTo>
                <a:close/>
                <a:moveTo>
                  <a:pt x="114" y="204"/>
                </a:moveTo>
                <a:lnTo>
                  <a:pt x="114" y="204"/>
                </a:lnTo>
                <a:lnTo>
                  <a:pt x="114" y="202"/>
                </a:lnTo>
                <a:lnTo>
                  <a:pt x="122" y="202"/>
                </a:lnTo>
                <a:lnTo>
                  <a:pt x="122" y="202"/>
                </a:lnTo>
                <a:lnTo>
                  <a:pt x="120" y="204"/>
                </a:lnTo>
                <a:lnTo>
                  <a:pt x="114" y="204"/>
                </a:lnTo>
                <a:lnTo>
                  <a:pt x="114" y="204"/>
                </a:lnTo>
                <a:close/>
                <a:moveTo>
                  <a:pt x="166" y="232"/>
                </a:moveTo>
                <a:lnTo>
                  <a:pt x="166" y="232"/>
                </a:lnTo>
                <a:lnTo>
                  <a:pt x="164" y="230"/>
                </a:lnTo>
                <a:lnTo>
                  <a:pt x="160" y="226"/>
                </a:lnTo>
                <a:lnTo>
                  <a:pt x="160" y="226"/>
                </a:lnTo>
                <a:lnTo>
                  <a:pt x="164" y="224"/>
                </a:lnTo>
                <a:lnTo>
                  <a:pt x="166" y="226"/>
                </a:lnTo>
                <a:lnTo>
                  <a:pt x="168" y="230"/>
                </a:lnTo>
                <a:lnTo>
                  <a:pt x="166" y="232"/>
                </a:lnTo>
                <a:lnTo>
                  <a:pt x="166" y="232"/>
                </a:lnTo>
                <a:close/>
                <a:moveTo>
                  <a:pt x="170" y="204"/>
                </a:moveTo>
                <a:lnTo>
                  <a:pt x="170" y="204"/>
                </a:lnTo>
                <a:lnTo>
                  <a:pt x="172" y="204"/>
                </a:lnTo>
                <a:lnTo>
                  <a:pt x="172" y="204"/>
                </a:lnTo>
                <a:lnTo>
                  <a:pt x="174" y="206"/>
                </a:lnTo>
                <a:lnTo>
                  <a:pt x="174" y="206"/>
                </a:lnTo>
                <a:lnTo>
                  <a:pt x="174" y="208"/>
                </a:lnTo>
                <a:lnTo>
                  <a:pt x="172" y="208"/>
                </a:lnTo>
                <a:lnTo>
                  <a:pt x="170" y="206"/>
                </a:lnTo>
                <a:lnTo>
                  <a:pt x="170" y="204"/>
                </a:lnTo>
                <a:lnTo>
                  <a:pt x="170" y="204"/>
                </a:lnTo>
                <a:close/>
                <a:moveTo>
                  <a:pt x="178" y="206"/>
                </a:moveTo>
                <a:lnTo>
                  <a:pt x="178" y="206"/>
                </a:lnTo>
                <a:lnTo>
                  <a:pt x="176" y="204"/>
                </a:lnTo>
                <a:lnTo>
                  <a:pt x="176" y="202"/>
                </a:lnTo>
                <a:lnTo>
                  <a:pt x="180" y="202"/>
                </a:lnTo>
                <a:lnTo>
                  <a:pt x="180" y="202"/>
                </a:lnTo>
                <a:lnTo>
                  <a:pt x="180" y="204"/>
                </a:lnTo>
                <a:lnTo>
                  <a:pt x="178" y="206"/>
                </a:lnTo>
                <a:lnTo>
                  <a:pt x="178" y="206"/>
                </a:lnTo>
                <a:close/>
                <a:moveTo>
                  <a:pt x="190" y="204"/>
                </a:moveTo>
                <a:lnTo>
                  <a:pt x="190" y="204"/>
                </a:lnTo>
                <a:lnTo>
                  <a:pt x="190" y="206"/>
                </a:lnTo>
                <a:lnTo>
                  <a:pt x="190" y="206"/>
                </a:lnTo>
                <a:lnTo>
                  <a:pt x="188" y="204"/>
                </a:lnTo>
                <a:lnTo>
                  <a:pt x="188" y="204"/>
                </a:lnTo>
                <a:lnTo>
                  <a:pt x="184" y="202"/>
                </a:lnTo>
                <a:lnTo>
                  <a:pt x="194" y="202"/>
                </a:lnTo>
                <a:lnTo>
                  <a:pt x="194" y="202"/>
                </a:lnTo>
                <a:lnTo>
                  <a:pt x="190" y="202"/>
                </a:lnTo>
                <a:lnTo>
                  <a:pt x="190" y="204"/>
                </a:lnTo>
                <a:lnTo>
                  <a:pt x="190" y="204"/>
                </a:lnTo>
                <a:lnTo>
                  <a:pt x="190" y="204"/>
                </a:lnTo>
                <a:close/>
                <a:moveTo>
                  <a:pt x="202" y="218"/>
                </a:moveTo>
                <a:lnTo>
                  <a:pt x="202" y="218"/>
                </a:lnTo>
                <a:lnTo>
                  <a:pt x="204" y="218"/>
                </a:lnTo>
                <a:lnTo>
                  <a:pt x="204" y="220"/>
                </a:lnTo>
                <a:lnTo>
                  <a:pt x="206" y="222"/>
                </a:lnTo>
                <a:lnTo>
                  <a:pt x="206" y="222"/>
                </a:lnTo>
                <a:lnTo>
                  <a:pt x="204" y="222"/>
                </a:lnTo>
                <a:lnTo>
                  <a:pt x="202" y="222"/>
                </a:lnTo>
                <a:lnTo>
                  <a:pt x="202" y="222"/>
                </a:lnTo>
                <a:lnTo>
                  <a:pt x="202" y="218"/>
                </a:lnTo>
                <a:lnTo>
                  <a:pt x="202" y="218"/>
                </a:lnTo>
                <a:close/>
                <a:moveTo>
                  <a:pt x="204" y="260"/>
                </a:moveTo>
                <a:lnTo>
                  <a:pt x="204" y="260"/>
                </a:lnTo>
                <a:lnTo>
                  <a:pt x="204" y="258"/>
                </a:lnTo>
                <a:lnTo>
                  <a:pt x="206" y="256"/>
                </a:lnTo>
                <a:lnTo>
                  <a:pt x="206" y="256"/>
                </a:lnTo>
                <a:lnTo>
                  <a:pt x="208" y="256"/>
                </a:lnTo>
                <a:lnTo>
                  <a:pt x="208" y="256"/>
                </a:lnTo>
                <a:lnTo>
                  <a:pt x="208" y="260"/>
                </a:lnTo>
                <a:lnTo>
                  <a:pt x="204" y="260"/>
                </a:lnTo>
                <a:lnTo>
                  <a:pt x="204" y="260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8" y="204"/>
                </a:lnTo>
                <a:lnTo>
                  <a:pt x="208" y="202"/>
                </a:lnTo>
                <a:lnTo>
                  <a:pt x="214" y="202"/>
                </a:lnTo>
                <a:lnTo>
                  <a:pt x="214" y="202"/>
                </a:lnTo>
                <a:lnTo>
                  <a:pt x="214" y="206"/>
                </a:lnTo>
                <a:lnTo>
                  <a:pt x="214" y="206"/>
                </a:lnTo>
                <a:lnTo>
                  <a:pt x="216" y="208"/>
                </a:lnTo>
                <a:lnTo>
                  <a:pt x="218" y="208"/>
                </a:lnTo>
                <a:lnTo>
                  <a:pt x="218" y="214"/>
                </a:lnTo>
                <a:lnTo>
                  <a:pt x="218" y="214"/>
                </a:lnTo>
                <a:lnTo>
                  <a:pt x="216" y="214"/>
                </a:lnTo>
                <a:lnTo>
                  <a:pt x="214" y="210"/>
                </a:lnTo>
                <a:lnTo>
                  <a:pt x="214" y="210"/>
                </a:lnTo>
                <a:lnTo>
                  <a:pt x="212" y="210"/>
                </a:lnTo>
                <a:lnTo>
                  <a:pt x="212" y="210"/>
                </a:lnTo>
                <a:lnTo>
                  <a:pt x="208" y="208"/>
                </a:lnTo>
                <a:lnTo>
                  <a:pt x="208" y="208"/>
                </a:lnTo>
                <a:close/>
                <a:moveTo>
                  <a:pt x="218" y="256"/>
                </a:moveTo>
                <a:lnTo>
                  <a:pt x="218" y="256"/>
                </a:lnTo>
                <a:lnTo>
                  <a:pt x="216" y="256"/>
                </a:lnTo>
                <a:lnTo>
                  <a:pt x="214" y="252"/>
                </a:lnTo>
                <a:lnTo>
                  <a:pt x="214" y="252"/>
                </a:lnTo>
                <a:lnTo>
                  <a:pt x="216" y="252"/>
                </a:lnTo>
                <a:lnTo>
                  <a:pt x="216" y="248"/>
                </a:lnTo>
                <a:lnTo>
                  <a:pt x="216" y="248"/>
                </a:lnTo>
                <a:lnTo>
                  <a:pt x="218" y="248"/>
                </a:lnTo>
                <a:lnTo>
                  <a:pt x="220" y="250"/>
                </a:lnTo>
                <a:lnTo>
                  <a:pt x="220" y="250"/>
                </a:lnTo>
                <a:lnTo>
                  <a:pt x="220" y="250"/>
                </a:lnTo>
                <a:lnTo>
                  <a:pt x="220" y="254"/>
                </a:lnTo>
                <a:lnTo>
                  <a:pt x="218" y="256"/>
                </a:lnTo>
                <a:lnTo>
                  <a:pt x="218" y="256"/>
                </a:lnTo>
                <a:close/>
                <a:moveTo>
                  <a:pt x="220" y="202"/>
                </a:moveTo>
                <a:lnTo>
                  <a:pt x="220" y="202"/>
                </a:lnTo>
                <a:lnTo>
                  <a:pt x="220" y="202"/>
                </a:lnTo>
                <a:lnTo>
                  <a:pt x="224" y="204"/>
                </a:lnTo>
                <a:lnTo>
                  <a:pt x="222" y="208"/>
                </a:lnTo>
                <a:lnTo>
                  <a:pt x="222" y="208"/>
                </a:lnTo>
                <a:lnTo>
                  <a:pt x="220" y="204"/>
                </a:lnTo>
                <a:lnTo>
                  <a:pt x="220" y="202"/>
                </a:lnTo>
                <a:lnTo>
                  <a:pt x="220" y="202"/>
                </a:lnTo>
                <a:lnTo>
                  <a:pt x="220" y="202"/>
                </a:lnTo>
                <a:close/>
                <a:moveTo>
                  <a:pt x="224" y="240"/>
                </a:moveTo>
                <a:lnTo>
                  <a:pt x="224" y="240"/>
                </a:lnTo>
                <a:lnTo>
                  <a:pt x="224" y="238"/>
                </a:lnTo>
                <a:lnTo>
                  <a:pt x="224" y="236"/>
                </a:lnTo>
                <a:lnTo>
                  <a:pt x="224" y="236"/>
                </a:lnTo>
                <a:lnTo>
                  <a:pt x="226" y="236"/>
                </a:lnTo>
                <a:lnTo>
                  <a:pt x="226" y="238"/>
                </a:lnTo>
                <a:lnTo>
                  <a:pt x="226" y="240"/>
                </a:lnTo>
                <a:lnTo>
                  <a:pt x="224" y="240"/>
                </a:lnTo>
                <a:lnTo>
                  <a:pt x="224" y="240"/>
                </a:lnTo>
                <a:close/>
                <a:moveTo>
                  <a:pt x="238" y="278"/>
                </a:moveTo>
                <a:lnTo>
                  <a:pt x="238" y="278"/>
                </a:lnTo>
                <a:lnTo>
                  <a:pt x="234" y="276"/>
                </a:lnTo>
                <a:lnTo>
                  <a:pt x="234" y="274"/>
                </a:lnTo>
                <a:lnTo>
                  <a:pt x="234" y="272"/>
                </a:lnTo>
                <a:lnTo>
                  <a:pt x="234" y="272"/>
                </a:lnTo>
                <a:lnTo>
                  <a:pt x="236" y="272"/>
                </a:lnTo>
                <a:lnTo>
                  <a:pt x="238" y="272"/>
                </a:lnTo>
                <a:lnTo>
                  <a:pt x="238" y="278"/>
                </a:lnTo>
                <a:lnTo>
                  <a:pt x="238" y="278"/>
                </a:lnTo>
                <a:close/>
                <a:moveTo>
                  <a:pt x="232" y="240"/>
                </a:moveTo>
                <a:lnTo>
                  <a:pt x="232" y="240"/>
                </a:lnTo>
                <a:lnTo>
                  <a:pt x="232" y="238"/>
                </a:lnTo>
                <a:lnTo>
                  <a:pt x="230" y="236"/>
                </a:lnTo>
                <a:lnTo>
                  <a:pt x="232" y="234"/>
                </a:lnTo>
                <a:lnTo>
                  <a:pt x="232" y="234"/>
                </a:lnTo>
                <a:lnTo>
                  <a:pt x="234" y="234"/>
                </a:lnTo>
                <a:lnTo>
                  <a:pt x="236" y="236"/>
                </a:lnTo>
                <a:lnTo>
                  <a:pt x="236" y="236"/>
                </a:lnTo>
                <a:lnTo>
                  <a:pt x="234" y="240"/>
                </a:lnTo>
                <a:lnTo>
                  <a:pt x="232" y="240"/>
                </a:lnTo>
                <a:lnTo>
                  <a:pt x="232" y="240"/>
                </a:lnTo>
                <a:close/>
                <a:moveTo>
                  <a:pt x="282" y="216"/>
                </a:moveTo>
                <a:lnTo>
                  <a:pt x="282" y="216"/>
                </a:lnTo>
                <a:lnTo>
                  <a:pt x="284" y="216"/>
                </a:lnTo>
                <a:lnTo>
                  <a:pt x="286" y="218"/>
                </a:lnTo>
                <a:lnTo>
                  <a:pt x="286" y="220"/>
                </a:lnTo>
                <a:lnTo>
                  <a:pt x="284" y="222"/>
                </a:lnTo>
                <a:lnTo>
                  <a:pt x="284" y="222"/>
                </a:lnTo>
                <a:lnTo>
                  <a:pt x="282" y="222"/>
                </a:lnTo>
                <a:lnTo>
                  <a:pt x="282" y="220"/>
                </a:lnTo>
                <a:lnTo>
                  <a:pt x="282" y="216"/>
                </a:lnTo>
                <a:lnTo>
                  <a:pt x="282" y="216"/>
                </a:lnTo>
                <a:close/>
                <a:moveTo>
                  <a:pt x="280" y="230"/>
                </a:moveTo>
                <a:lnTo>
                  <a:pt x="280" y="230"/>
                </a:lnTo>
                <a:lnTo>
                  <a:pt x="276" y="230"/>
                </a:lnTo>
                <a:lnTo>
                  <a:pt x="276" y="230"/>
                </a:lnTo>
                <a:lnTo>
                  <a:pt x="276" y="224"/>
                </a:lnTo>
                <a:lnTo>
                  <a:pt x="280" y="224"/>
                </a:lnTo>
                <a:lnTo>
                  <a:pt x="280" y="224"/>
                </a:lnTo>
                <a:lnTo>
                  <a:pt x="280" y="228"/>
                </a:lnTo>
                <a:lnTo>
                  <a:pt x="280" y="230"/>
                </a:lnTo>
                <a:lnTo>
                  <a:pt x="280" y="230"/>
                </a:lnTo>
                <a:lnTo>
                  <a:pt x="280" y="230"/>
                </a:lnTo>
                <a:close/>
                <a:moveTo>
                  <a:pt x="276" y="202"/>
                </a:moveTo>
                <a:lnTo>
                  <a:pt x="276" y="202"/>
                </a:lnTo>
                <a:lnTo>
                  <a:pt x="274" y="202"/>
                </a:lnTo>
                <a:lnTo>
                  <a:pt x="274" y="202"/>
                </a:lnTo>
                <a:lnTo>
                  <a:pt x="276" y="204"/>
                </a:lnTo>
                <a:lnTo>
                  <a:pt x="276" y="206"/>
                </a:lnTo>
                <a:lnTo>
                  <a:pt x="276" y="206"/>
                </a:lnTo>
                <a:lnTo>
                  <a:pt x="274" y="208"/>
                </a:lnTo>
                <a:lnTo>
                  <a:pt x="272" y="210"/>
                </a:lnTo>
                <a:lnTo>
                  <a:pt x="272" y="210"/>
                </a:lnTo>
                <a:lnTo>
                  <a:pt x="266" y="212"/>
                </a:lnTo>
                <a:lnTo>
                  <a:pt x="264" y="212"/>
                </a:lnTo>
                <a:lnTo>
                  <a:pt x="264" y="212"/>
                </a:lnTo>
                <a:lnTo>
                  <a:pt x="266" y="214"/>
                </a:lnTo>
                <a:lnTo>
                  <a:pt x="268" y="214"/>
                </a:lnTo>
                <a:lnTo>
                  <a:pt x="268" y="214"/>
                </a:lnTo>
                <a:lnTo>
                  <a:pt x="270" y="214"/>
                </a:lnTo>
                <a:lnTo>
                  <a:pt x="272" y="214"/>
                </a:lnTo>
                <a:lnTo>
                  <a:pt x="272" y="212"/>
                </a:lnTo>
                <a:lnTo>
                  <a:pt x="274" y="210"/>
                </a:lnTo>
                <a:lnTo>
                  <a:pt x="274" y="210"/>
                </a:lnTo>
                <a:lnTo>
                  <a:pt x="276" y="214"/>
                </a:lnTo>
                <a:lnTo>
                  <a:pt x="276" y="216"/>
                </a:lnTo>
                <a:lnTo>
                  <a:pt x="276" y="216"/>
                </a:lnTo>
                <a:lnTo>
                  <a:pt x="272" y="216"/>
                </a:lnTo>
                <a:lnTo>
                  <a:pt x="268" y="218"/>
                </a:lnTo>
                <a:lnTo>
                  <a:pt x="266" y="222"/>
                </a:lnTo>
                <a:lnTo>
                  <a:pt x="266" y="222"/>
                </a:lnTo>
                <a:lnTo>
                  <a:pt x="262" y="220"/>
                </a:lnTo>
                <a:lnTo>
                  <a:pt x="258" y="220"/>
                </a:lnTo>
                <a:lnTo>
                  <a:pt x="254" y="220"/>
                </a:lnTo>
                <a:lnTo>
                  <a:pt x="250" y="222"/>
                </a:lnTo>
                <a:lnTo>
                  <a:pt x="250" y="222"/>
                </a:lnTo>
                <a:lnTo>
                  <a:pt x="250" y="220"/>
                </a:lnTo>
                <a:lnTo>
                  <a:pt x="248" y="218"/>
                </a:lnTo>
                <a:lnTo>
                  <a:pt x="248" y="218"/>
                </a:lnTo>
                <a:lnTo>
                  <a:pt x="246" y="214"/>
                </a:lnTo>
                <a:lnTo>
                  <a:pt x="246" y="214"/>
                </a:lnTo>
                <a:lnTo>
                  <a:pt x="242" y="214"/>
                </a:lnTo>
                <a:lnTo>
                  <a:pt x="240" y="212"/>
                </a:lnTo>
                <a:lnTo>
                  <a:pt x="238" y="210"/>
                </a:lnTo>
                <a:lnTo>
                  <a:pt x="238" y="210"/>
                </a:lnTo>
                <a:lnTo>
                  <a:pt x="240" y="210"/>
                </a:lnTo>
                <a:lnTo>
                  <a:pt x="244" y="210"/>
                </a:lnTo>
                <a:lnTo>
                  <a:pt x="244" y="210"/>
                </a:lnTo>
                <a:lnTo>
                  <a:pt x="246" y="208"/>
                </a:lnTo>
                <a:lnTo>
                  <a:pt x="246" y="206"/>
                </a:lnTo>
                <a:lnTo>
                  <a:pt x="250" y="204"/>
                </a:lnTo>
                <a:lnTo>
                  <a:pt x="250" y="204"/>
                </a:lnTo>
                <a:lnTo>
                  <a:pt x="250" y="204"/>
                </a:lnTo>
                <a:lnTo>
                  <a:pt x="250" y="202"/>
                </a:lnTo>
                <a:lnTo>
                  <a:pt x="260" y="202"/>
                </a:lnTo>
                <a:lnTo>
                  <a:pt x="260" y="202"/>
                </a:lnTo>
                <a:lnTo>
                  <a:pt x="258" y="196"/>
                </a:lnTo>
                <a:lnTo>
                  <a:pt x="258" y="196"/>
                </a:lnTo>
                <a:lnTo>
                  <a:pt x="260" y="198"/>
                </a:lnTo>
                <a:lnTo>
                  <a:pt x="262" y="200"/>
                </a:lnTo>
                <a:lnTo>
                  <a:pt x="262" y="200"/>
                </a:lnTo>
                <a:lnTo>
                  <a:pt x="262" y="202"/>
                </a:lnTo>
                <a:lnTo>
                  <a:pt x="262" y="202"/>
                </a:lnTo>
                <a:lnTo>
                  <a:pt x="262" y="202"/>
                </a:lnTo>
                <a:lnTo>
                  <a:pt x="266" y="202"/>
                </a:lnTo>
                <a:lnTo>
                  <a:pt x="266" y="202"/>
                </a:lnTo>
                <a:lnTo>
                  <a:pt x="266" y="202"/>
                </a:lnTo>
                <a:lnTo>
                  <a:pt x="276" y="202"/>
                </a:lnTo>
                <a:close/>
                <a:moveTo>
                  <a:pt x="256" y="172"/>
                </a:moveTo>
                <a:lnTo>
                  <a:pt x="256" y="172"/>
                </a:lnTo>
                <a:lnTo>
                  <a:pt x="254" y="172"/>
                </a:lnTo>
                <a:lnTo>
                  <a:pt x="252" y="172"/>
                </a:lnTo>
                <a:lnTo>
                  <a:pt x="252" y="172"/>
                </a:lnTo>
                <a:lnTo>
                  <a:pt x="254" y="168"/>
                </a:lnTo>
                <a:lnTo>
                  <a:pt x="254" y="168"/>
                </a:lnTo>
                <a:lnTo>
                  <a:pt x="256" y="170"/>
                </a:lnTo>
                <a:lnTo>
                  <a:pt x="256" y="170"/>
                </a:lnTo>
                <a:lnTo>
                  <a:pt x="256" y="172"/>
                </a:lnTo>
                <a:lnTo>
                  <a:pt x="256" y="172"/>
                </a:lnTo>
                <a:close/>
                <a:moveTo>
                  <a:pt x="296" y="148"/>
                </a:moveTo>
                <a:lnTo>
                  <a:pt x="296" y="148"/>
                </a:lnTo>
                <a:lnTo>
                  <a:pt x="294" y="148"/>
                </a:lnTo>
                <a:lnTo>
                  <a:pt x="292" y="146"/>
                </a:lnTo>
                <a:lnTo>
                  <a:pt x="292" y="140"/>
                </a:lnTo>
                <a:lnTo>
                  <a:pt x="296" y="140"/>
                </a:lnTo>
                <a:lnTo>
                  <a:pt x="296" y="140"/>
                </a:lnTo>
                <a:lnTo>
                  <a:pt x="296" y="144"/>
                </a:lnTo>
                <a:lnTo>
                  <a:pt x="298" y="146"/>
                </a:lnTo>
                <a:lnTo>
                  <a:pt x="296" y="148"/>
                </a:lnTo>
                <a:lnTo>
                  <a:pt x="296" y="148"/>
                </a:lnTo>
                <a:close/>
                <a:moveTo>
                  <a:pt x="300" y="138"/>
                </a:moveTo>
                <a:lnTo>
                  <a:pt x="300" y="138"/>
                </a:lnTo>
                <a:lnTo>
                  <a:pt x="298" y="138"/>
                </a:lnTo>
                <a:lnTo>
                  <a:pt x="298" y="138"/>
                </a:lnTo>
                <a:lnTo>
                  <a:pt x="298" y="132"/>
                </a:lnTo>
                <a:lnTo>
                  <a:pt x="298" y="132"/>
                </a:lnTo>
                <a:lnTo>
                  <a:pt x="300" y="132"/>
                </a:lnTo>
                <a:lnTo>
                  <a:pt x="302" y="134"/>
                </a:lnTo>
                <a:lnTo>
                  <a:pt x="302" y="138"/>
                </a:lnTo>
                <a:lnTo>
                  <a:pt x="300" y="138"/>
                </a:lnTo>
                <a:lnTo>
                  <a:pt x="300" y="138"/>
                </a:lnTo>
                <a:close/>
                <a:moveTo>
                  <a:pt x="306" y="124"/>
                </a:moveTo>
                <a:lnTo>
                  <a:pt x="310" y="124"/>
                </a:lnTo>
                <a:lnTo>
                  <a:pt x="310" y="124"/>
                </a:lnTo>
                <a:lnTo>
                  <a:pt x="310" y="128"/>
                </a:lnTo>
                <a:lnTo>
                  <a:pt x="310" y="130"/>
                </a:lnTo>
                <a:lnTo>
                  <a:pt x="310" y="130"/>
                </a:lnTo>
                <a:lnTo>
                  <a:pt x="306" y="130"/>
                </a:lnTo>
                <a:lnTo>
                  <a:pt x="304" y="128"/>
                </a:lnTo>
                <a:lnTo>
                  <a:pt x="304" y="126"/>
                </a:lnTo>
                <a:lnTo>
                  <a:pt x="306" y="124"/>
                </a:lnTo>
                <a:lnTo>
                  <a:pt x="306" y="124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899" name="Freeform 783"/>
          <p:cNvSpPr>
            <a:spLocks noEditPoints="1"/>
          </p:cNvSpPr>
          <p:nvPr/>
        </p:nvSpPr>
        <p:spPr bwMode="auto">
          <a:xfrm>
            <a:off x="5874192" y="3737444"/>
            <a:ext cx="1410005" cy="1539363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00" name="Freeform 783"/>
          <p:cNvSpPr>
            <a:spLocks noEditPoints="1"/>
          </p:cNvSpPr>
          <p:nvPr/>
        </p:nvSpPr>
        <p:spPr bwMode="auto">
          <a:xfrm>
            <a:off x="3340510" y="4073489"/>
            <a:ext cx="1108341" cy="1210023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01" name="Freeform 114"/>
          <p:cNvSpPr>
            <a:spLocks/>
          </p:cNvSpPr>
          <p:nvPr/>
        </p:nvSpPr>
        <p:spPr bwMode="auto">
          <a:xfrm>
            <a:off x="3278935" y="4584461"/>
            <a:ext cx="289928" cy="654024"/>
          </a:xfrm>
          <a:custGeom>
            <a:avLst/>
            <a:gdLst>
              <a:gd name="T0" fmla="*/ 130 w 516"/>
              <a:gd name="T1" fmla="*/ 1026 h 1164"/>
              <a:gd name="T2" fmla="*/ 144 w 516"/>
              <a:gd name="T3" fmla="*/ 996 h 1164"/>
              <a:gd name="T4" fmla="*/ 180 w 516"/>
              <a:gd name="T5" fmla="*/ 938 h 1164"/>
              <a:gd name="T6" fmla="*/ 202 w 516"/>
              <a:gd name="T7" fmla="*/ 870 h 1164"/>
              <a:gd name="T8" fmla="*/ 228 w 516"/>
              <a:gd name="T9" fmla="*/ 744 h 1164"/>
              <a:gd name="T10" fmla="*/ 244 w 516"/>
              <a:gd name="T11" fmla="*/ 642 h 1164"/>
              <a:gd name="T12" fmla="*/ 220 w 516"/>
              <a:gd name="T13" fmla="*/ 592 h 1164"/>
              <a:gd name="T14" fmla="*/ 202 w 516"/>
              <a:gd name="T15" fmla="*/ 542 h 1164"/>
              <a:gd name="T16" fmla="*/ 224 w 516"/>
              <a:gd name="T17" fmla="*/ 480 h 1164"/>
              <a:gd name="T18" fmla="*/ 236 w 516"/>
              <a:gd name="T19" fmla="*/ 396 h 1164"/>
              <a:gd name="T20" fmla="*/ 274 w 516"/>
              <a:gd name="T21" fmla="*/ 298 h 1164"/>
              <a:gd name="T22" fmla="*/ 298 w 516"/>
              <a:gd name="T23" fmla="*/ 206 h 1164"/>
              <a:gd name="T24" fmla="*/ 312 w 516"/>
              <a:gd name="T25" fmla="*/ 176 h 1164"/>
              <a:gd name="T26" fmla="*/ 276 w 516"/>
              <a:gd name="T27" fmla="*/ 164 h 1164"/>
              <a:gd name="T28" fmla="*/ 256 w 516"/>
              <a:gd name="T29" fmla="*/ 142 h 1164"/>
              <a:gd name="T30" fmla="*/ 252 w 516"/>
              <a:gd name="T31" fmla="*/ 122 h 1164"/>
              <a:gd name="T32" fmla="*/ 240 w 516"/>
              <a:gd name="T33" fmla="*/ 112 h 1164"/>
              <a:gd name="T34" fmla="*/ 250 w 516"/>
              <a:gd name="T35" fmla="*/ 80 h 1164"/>
              <a:gd name="T36" fmla="*/ 254 w 516"/>
              <a:gd name="T37" fmla="*/ 48 h 1164"/>
              <a:gd name="T38" fmla="*/ 246 w 516"/>
              <a:gd name="T39" fmla="*/ 46 h 1164"/>
              <a:gd name="T40" fmla="*/ 248 w 516"/>
              <a:gd name="T41" fmla="*/ 40 h 1164"/>
              <a:gd name="T42" fmla="*/ 258 w 516"/>
              <a:gd name="T43" fmla="*/ 30 h 1164"/>
              <a:gd name="T44" fmla="*/ 270 w 516"/>
              <a:gd name="T45" fmla="*/ 20 h 1164"/>
              <a:gd name="T46" fmla="*/ 296 w 516"/>
              <a:gd name="T47" fmla="*/ 6 h 1164"/>
              <a:gd name="T48" fmla="*/ 310 w 516"/>
              <a:gd name="T49" fmla="*/ 2 h 1164"/>
              <a:gd name="T50" fmla="*/ 322 w 516"/>
              <a:gd name="T51" fmla="*/ 0 h 1164"/>
              <a:gd name="T52" fmla="*/ 338 w 516"/>
              <a:gd name="T53" fmla="*/ 2 h 1164"/>
              <a:gd name="T54" fmla="*/ 358 w 516"/>
              <a:gd name="T55" fmla="*/ 14 h 1164"/>
              <a:gd name="T56" fmla="*/ 376 w 516"/>
              <a:gd name="T57" fmla="*/ 26 h 1164"/>
              <a:gd name="T58" fmla="*/ 386 w 516"/>
              <a:gd name="T59" fmla="*/ 52 h 1164"/>
              <a:gd name="T60" fmla="*/ 384 w 516"/>
              <a:gd name="T61" fmla="*/ 68 h 1164"/>
              <a:gd name="T62" fmla="*/ 382 w 516"/>
              <a:gd name="T63" fmla="*/ 78 h 1164"/>
              <a:gd name="T64" fmla="*/ 374 w 516"/>
              <a:gd name="T65" fmla="*/ 106 h 1164"/>
              <a:gd name="T66" fmla="*/ 378 w 516"/>
              <a:gd name="T67" fmla="*/ 142 h 1164"/>
              <a:gd name="T68" fmla="*/ 440 w 516"/>
              <a:gd name="T69" fmla="*/ 224 h 1164"/>
              <a:gd name="T70" fmla="*/ 462 w 516"/>
              <a:gd name="T71" fmla="*/ 426 h 1164"/>
              <a:gd name="T72" fmla="*/ 460 w 516"/>
              <a:gd name="T73" fmla="*/ 588 h 1164"/>
              <a:gd name="T74" fmla="*/ 444 w 516"/>
              <a:gd name="T75" fmla="*/ 652 h 1164"/>
              <a:gd name="T76" fmla="*/ 452 w 516"/>
              <a:gd name="T77" fmla="*/ 706 h 1164"/>
              <a:gd name="T78" fmla="*/ 472 w 516"/>
              <a:gd name="T79" fmla="*/ 792 h 1164"/>
              <a:gd name="T80" fmla="*/ 484 w 516"/>
              <a:gd name="T81" fmla="*/ 862 h 1164"/>
              <a:gd name="T82" fmla="*/ 500 w 516"/>
              <a:gd name="T83" fmla="*/ 940 h 1164"/>
              <a:gd name="T84" fmla="*/ 514 w 516"/>
              <a:gd name="T85" fmla="*/ 1070 h 1164"/>
              <a:gd name="T86" fmla="*/ 504 w 516"/>
              <a:gd name="T87" fmla="*/ 1150 h 1164"/>
              <a:gd name="T88" fmla="*/ 440 w 516"/>
              <a:gd name="T89" fmla="*/ 1154 h 1164"/>
              <a:gd name="T90" fmla="*/ 312 w 516"/>
              <a:gd name="T91" fmla="*/ 1150 h 1164"/>
              <a:gd name="T92" fmla="*/ 380 w 516"/>
              <a:gd name="T93" fmla="*/ 1124 h 1164"/>
              <a:gd name="T94" fmla="*/ 406 w 516"/>
              <a:gd name="T95" fmla="*/ 1094 h 1164"/>
              <a:gd name="T96" fmla="*/ 426 w 516"/>
              <a:gd name="T97" fmla="*/ 1040 h 1164"/>
              <a:gd name="T98" fmla="*/ 420 w 516"/>
              <a:gd name="T99" fmla="*/ 980 h 1164"/>
              <a:gd name="T100" fmla="*/ 382 w 516"/>
              <a:gd name="T101" fmla="*/ 880 h 1164"/>
              <a:gd name="T102" fmla="*/ 358 w 516"/>
              <a:gd name="T103" fmla="*/ 798 h 1164"/>
              <a:gd name="T104" fmla="*/ 322 w 516"/>
              <a:gd name="T105" fmla="*/ 824 h 1164"/>
              <a:gd name="T106" fmla="*/ 280 w 516"/>
              <a:gd name="T107" fmla="*/ 914 h 1164"/>
              <a:gd name="T108" fmla="*/ 216 w 516"/>
              <a:gd name="T109" fmla="*/ 1034 h 1164"/>
              <a:gd name="T110" fmla="*/ 202 w 516"/>
              <a:gd name="T111" fmla="*/ 1094 h 1164"/>
              <a:gd name="T112" fmla="*/ 162 w 516"/>
              <a:gd name="T113" fmla="*/ 1130 h 1164"/>
              <a:gd name="T114" fmla="*/ 56 w 516"/>
              <a:gd name="T115" fmla="*/ 1098 h 1164"/>
              <a:gd name="T116" fmla="*/ 12 w 516"/>
              <a:gd name="T117" fmla="*/ 1060 h 1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6" h="1164">
                <a:moveTo>
                  <a:pt x="104" y="1052"/>
                </a:moveTo>
                <a:lnTo>
                  <a:pt x="104" y="1052"/>
                </a:lnTo>
                <a:lnTo>
                  <a:pt x="108" y="1052"/>
                </a:lnTo>
                <a:lnTo>
                  <a:pt x="112" y="1048"/>
                </a:lnTo>
                <a:lnTo>
                  <a:pt x="116" y="1042"/>
                </a:lnTo>
                <a:lnTo>
                  <a:pt x="116" y="1042"/>
                </a:lnTo>
                <a:lnTo>
                  <a:pt x="122" y="1032"/>
                </a:lnTo>
                <a:lnTo>
                  <a:pt x="130" y="1026"/>
                </a:lnTo>
                <a:lnTo>
                  <a:pt x="130" y="1026"/>
                </a:lnTo>
                <a:lnTo>
                  <a:pt x="136" y="1024"/>
                </a:lnTo>
                <a:lnTo>
                  <a:pt x="142" y="1024"/>
                </a:lnTo>
                <a:lnTo>
                  <a:pt x="142" y="1024"/>
                </a:lnTo>
                <a:lnTo>
                  <a:pt x="142" y="1016"/>
                </a:lnTo>
                <a:lnTo>
                  <a:pt x="142" y="1010"/>
                </a:lnTo>
                <a:lnTo>
                  <a:pt x="142" y="1004"/>
                </a:lnTo>
                <a:lnTo>
                  <a:pt x="144" y="996"/>
                </a:lnTo>
                <a:lnTo>
                  <a:pt x="144" y="996"/>
                </a:lnTo>
                <a:lnTo>
                  <a:pt x="152" y="986"/>
                </a:lnTo>
                <a:lnTo>
                  <a:pt x="158" y="978"/>
                </a:lnTo>
                <a:lnTo>
                  <a:pt x="166" y="970"/>
                </a:lnTo>
                <a:lnTo>
                  <a:pt x="172" y="960"/>
                </a:lnTo>
                <a:lnTo>
                  <a:pt x="172" y="960"/>
                </a:lnTo>
                <a:lnTo>
                  <a:pt x="178" y="950"/>
                </a:lnTo>
                <a:lnTo>
                  <a:pt x="180" y="938"/>
                </a:lnTo>
                <a:lnTo>
                  <a:pt x="182" y="924"/>
                </a:lnTo>
                <a:lnTo>
                  <a:pt x="188" y="908"/>
                </a:lnTo>
                <a:lnTo>
                  <a:pt x="188" y="908"/>
                </a:lnTo>
                <a:lnTo>
                  <a:pt x="192" y="896"/>
                </a:lnTo>
                <a:lnTo>
                  <a:pt x="194" y="890"/>
                </a:lnTo>
                <a:lnTo>
                  <a:pt x="196" y="882"/>
                </a:lnTo>
                <a:lnTo>
                  <a:pt x="196" y="882"/>
                </a:lnTo>
                <a:lnTo>
                  <a:pt x="202" y="870"/>
                </a:lnTo>
                <a:lnTo>
                  <a:pt x="204" y="858"/>
                </a:lnTo>
                <a:lnTo>
                  <a:pt x="210" y="834"/>
                </a:lnTo>
                <a:lnTo>
                  <a:pt x="210" y="834"/>
                </a:lnTo>
                <a:lnTo>
                  <a:pt x="216" y="802"/>
                </a:lnTo>
                <a:lnTo>
                  <a:pt x="220" y="770"/>
                </a:lnTo>
                <a:lnTo>
                  <a:pt x="220" y="770"/>
                </a:lnTo>
                <a:lnTo>
                  <a:pt x="224" y="756"/>
                </a:lnTo>
                <a:lnTo>
                  <a:pt x="228" y="744"/>
                </a:lnTo>
                <a:lnTo>
                  <a:pt x="228" y="744"/>
                </a:lnTo>
                <a:lnTo>
                  <a:pt x="232" y="726"/>
                </a:lnTo>
                <a:lnTo>
                  <a:pt x="234" y="710"/>
                </a:lnTo>
                <a:lnTo>
                  <a:pt x="240" y="674"/>
                </a:lnTo>
                <a:lnTo>
                  <a:pt x="240" y="674"/>
                </a:lnTo>
                <a:lnTo>
                  <a:pt x="244" y="658"/>
                </a:lnTo>
                <a:lnTo>
                  <a:pt x="244" y="650"/>
                </a:lnTo>
                <a:lnTo>
                  <a:pt x="244" y="642"/>
                </a:lnTo>
                <a:lnTo>
                  <a:pt x="244" y="642"/>
                </a:lnTo>
                <a:lnTo>
                  <a:pt x="236" y="634"/>
                </a:lnTo>
                <a:lnTo>
                  <a:pt x="234" y="628"/>
                </a:lnTo>
                <a:lnTo>
                  <a:pt x="232" y="622"/>
                </a:lnTo>
                <a:lnTo>
                  <a:pt x="232" y="622"/>
                </a:lnTo>
                <a:lnTo>
                  <a:pt x="226" y="590"/>
                </a:lnTo>
                <a:lnTo>
                  <a:pt x="226" y="590"/>
                </a:lnTo>
                <a:lnTo>
                  <a:pt x="220" y="592"/>
                </a:lnTo>
                <a:lnTo>
                  <a:pt x="212" y="594"/>
                </a:lnTo>
                <a:lnTo>
                  <a:pt x="206" y="594"/>
                </a:lnTo>
                <a:lnTo>
                  <a:pt x="202" y="594"/>
                </a:lnTo>
                <a:lnTo>
                  <a:pt x="202" y="592"/>
                </a:lnTo>
                <a:lnTo>
                  <a:pt x="202" y="592"/>
                </a:lnTo>
                <a:lnTo>
                  <a:pt x="202" y="578"/>
                </a:lnTo>
                <a:lnTo>
                  <a:pt x="202" y="562"/>
                </a:lnTo>
                <a:lnTo>
                  <a:pt x="202" y="542"/>
                </a:lnTo>
                <a:lnTo>
                  <a:pt x="202" y="542"/>
                </a:lnTo>
                <a:lnTo>
                  <a:pt x="206" y="536"/>
                </a:lnTo>
                <a:lnTo>
                  <a:pt x="210" y="530"/>
                </a:lnTo>
                <a:lnTo>
                  <a:pt x="216" y="518"/>
                </a:lnTo>
                <a:lnTo>
                  <a:pt x="216" y="518"/>
                </a:lnTo>
                <a:lnTo>
                  <a:pt x="220" y="508"/>
                </a:lnTo>
                <a:lnTo>
                  <a:pt x="222" y="498"/>
                </a:lnTo>
                <a:lnTo>
                  <a:pt x="224" y="480"/>
                </a:lnTo>
                <a:lnTo>
                  <a:pt x="226" y="462"/>
                </a:lnTo>
                <a:lnTo>
                  <a:pt x="228" y="442"/>
                </a:lnTo>
                <a:lnTo>
                  <a:pt x="228" y="442"/>
                </a:lnTo>
                <a:lnTo>
                  <a:pt x="228" y="424"/>
                </a:lnTo>
                <a:lnTo>
                  <a:pt x="228" y="414"/>
                </a:lnTo>
                <a:lnTo>
                  <a:pt x="230" y="406"/>
                </a:lnTo>
                <a:lnTo>
                  <a:pt x="230" y="406"/>
                </a:lnTo>
                <a:lnTo>
                  <a:pt x="236" y="396"/>
                </a:lnTo>
                <a:lnTo>
                  <a:pt x="242" y="384"/>
                </a:lnTo>
                <a:lnTo>
                  <a:pt x="242" y="384"/>
                </a:lnTo>
                <a:lnTo>
                  <a:pt x="250" y="368"/>
                </a:lnTo>
                <a:lnTo>
                  <a:pt x="254" y="350"/>
                </a:lnTo>
                <a:lnTo>
                  <a:pt x="266" y="314"/>
                </a:lnTo>
                <a:lnTo>
                  <a:pt x="266" y="314"/>
                </a:lnTo>
                <a:lnTo>
                  <a:pt x="270" y="304"/>
                </a:lnTo>
                <a:lnTo>
                  <a:pt x="274" y="298"/>
                </a:lnTo>
                <a:lnTo>
                  <a:pt x="276" y="292"/>
                </a:lnTo>
                <a:lnTo>
                  <a:pt x="278" y="284"/>
                </a:lnTo>
                <a:lnTo>
                  <a:pt x="278" y="284"/>
                </a:lnTo>
                <a:lnTo>
                  <a:pt x="282" y="262"/>
                </a:lnTo>
                <a:lnTo>
                  <a:pt x="288" y="238"/>
                </a:lnTo>
                <a:lnTo>
                  <a:pt x="288" y="238"/>
                </a:lnTo>
                <a:lnTo>
                  <a:pt x="294" y="222"/>
                </a:lnTo>
                <a:lnTo>
                  <a:pt x="298" y="206"/>
                </a:lnTo>
                <a:lnTo>
                  <a:pt x="298" y="206"/>
                </a:lnTo>
                <a:lnTo>
                  <a:pt x="304" y="198"/>
                </a:lnTo>
                <a:lnTo>
                  <a:pt x="304" y="198"/>
                </a:lnTo>
                <a:lnTo>
                  <a:pt x="308" y="192"/>
                </a:lnTo>
                <a:lnTo>
                  <a:pt x="312" y="184"/>
                </a:lnTo>
                <a:lnTo>
                  <a:pt x="312" y="184"/>
                </a:lnTo>
                <a:lnTo>
                  <a:pt x="312" y="176"/>
                </a:lnTo>
                <a:lnTo>
                  <a:pt x="312" y="176"/>
                </a:lnTo>
                <a:lnTo>
                  <a:pt x="310" y="172"/>
                </a:lnTo>
                <a:lnTo>
                  <a:pt x="310" y="172"/>
                </a:lnTo>
                <a:lnTo>
                  <a:pt x="302" y="168"/>
                </a:lnTo>
                <a:lnTo>
                  <a:pt x="302" y="168"/>
                </a:lnTo>
                <a:lnTo>
                  <a:pt x="296" y="164"/>
                </a:lnTo>
                <a:lnTo>
                  <a:pt x="292" y="164"/>
                </a:lnTo>
                <a:lnTo>
                  <a:pt x="276" y="164"/>
                </a:lnTo>
                <a:lnTo>
                  <a:pt x="276" y="164"/>
                </a:lnTo>
                <a:lnTo>
                  <a:pt x="270" y="164"/>
                </a:lnTo>
                <a:lnTo>
                  <a:pt x="266" y="162"/>
                </a:lnTo>
                <a:lnTo>
                  <a:pt x="260" y="156"/>
                </a:lnTo>
                <a:lnTo>
                  <a:pt x="258" y="152"/>
                </a:lnTo>
                <a:lnTo>
                  <a:pt x="258" y="148"/>
                </a:lnTo>
                <a:lnTo>
                  <a:pt x="258" y="148"/>
                </a:lnTo>
                <a:lnTo>
                  <a:pt x="258" y="144"/>
                </a:lnTo>
                <a:lnTo>
                  <a:pt x="256" y="142"/>
                </a:lnTo>
                <a:lnTo>
                  <a:pt x="256" y="142"/>
                </a:lnTo>
                <a:lnTo>
                  <a:pt x="254" y="138"/>
                </a:lnTo>
                <a:lnTo>
                  <a:pt x="254" y="134"/>
                </a:lnTo>
                <a:lnTo>
                  <a:pt x="254" y="134"/>
                </a:lnTo>
                <a:lnTo>
                  <a:pt x="254" y="132"/>
                </a:lnTo>
                <a:lnTo>
                  <a:pt x="254" y="130"/>
                </a:lnTo>
                <a:lnTo>
                  <a:pt x="254" y="130"/>
                </a:lnTo>
                <a:lnTo>
                  <a:pt x="252" y="122"/>
                </a:lnTo>
                <a:lnTo>
                  <a:pt x="252" y="122"/>
                </a:lnTo>
                <a:lnTo>
                  <a:pt x="250" y="120"/>
                </a:lnTo>
                <a:lnTo>
                  <a:pt x="244" y="120"/>
                </a:lnTo>
                <a:lnTo>
                  <a:pt x="244" y="120"/>
                </a:lnTo>
                <a:lnTo>
                  <a:pt x="242" y="118"/>
                </a:lnTo>
                <a:lnTo>
                  <a:pt x="240" y="116"/>
                </a:lnTo>
                <a:lnTo>
                  <a:pt x="240" y="112"/>
                </a:lnTo>
                <a:lnTo>
                  <a:pt x="240" y="112"/>
                </a:lnTo>
                <a:lnTo>
                  <a:pt x="250" y="98"/>
                </a:lnTo>
                <a:lnTo>
                  <a:pt x="252" y="92"/>
                </a:lnTo>
                <a:lnTo>
                  <a:pt x="252" y="92"/>
                </a:lnTo>
                <a:lnTo>
                  <a:pt x="254" y="90"/>
                </a:lnTo>
                <a:lnTo>
                  <a:pt x="254" y="86"/>
                </a:lnTo>
                <a:lnTo>
                  <a:pt x="252" y="82"/>
                </a:lnTo>
                <a:lnTo>
                  <a:pt x="252" y="82"/>
                </a:lnTo>
                <a:lnTo>
                  <a:pt x="250" y="80"/>
                </a:lnTo>
                <a:lnTo>
                  <a:pt x="250" y="76"/>
                </a:lnTo>
                <a:lnTo>
                  <a:pt x="250" y="76"/>
                </a:lnTo>
                <a:lnTo>
                  <a:pt x="252" y="62"/>
                </a:lnTo>
                <a:lnTo>
                  <a:pt x="254" y="50"/>
                </a:lnTo>
                <a:lnTo>
                  <a:pt x="254" y="50"/>
                </a:lnTo>
                <a:lnTo>
                  <a:pt x="256" y="48"/>
                </a:lnTo>
                <a:lnTo>
                  <a:pt x="254" y="48"/>
                </a:lnTo>
                <a:lnTo>
                  <a:pt x="254" y="48"/>
                </a:lnTo>
                <a:lnTo>
                  <a:pt x="252" y="48"/>
                </a:lnTo>
                <a:lnTo>
                  <a:pt x="252" y="50"/>
                </a:lnTo>
                <a:lnTo>
                  <a:pt x="252" y="50"/>
                </a:lnTo>
                <a:lnTo>
                  <a:pt x="250" y="48"/>
                </a:lnTo>
                <a:lnTo>
                  <a:pt x="248" y="46"/>
                </a:lnTo>
                <a:lnTo>
                  <a:pt x="248" y="46"/>
                </a:lnTo>
                <a:lnTo>
                  <a:pt x="248" y="46"/>
                </a:lnTo>
                <a:lnTo>
                  <a:pt x="246" y="46"/>
                </a:lnTo>
                <a:lnTo>
                  <a:pt x="246" y="46"/>
                </a:lnTo>
                <a:lnTo>
                  <a:pt x="246" y="44"/>
                </a:lnTo>
                <a:lnTo>
                  <a:pt x="248" y="42"/>
                </a:lnTo>
                <a:lnTo>
                  <a:pt x="248" y="42"/>
                </a:lnTo>
                <a:lnTo>
                  <a:pt x="244" y="44"/>
                </a:lnTo>
                <a:lnTo>
                  <a:pt x="244" y="44"/>
                </a:lnTo>
                <a:lnTo>
                  <a:pt x="246" y="42"/>
                </a:lnTo>
                <a:lnTo>
                  <a:pt x="248" y="40"/>
                </a:lnTo>
                <a:lnTo>
                  <a:pt x="252" y="38"/>
                </a:lnTo>
                <a:lnTo>
                  <a:pt x="252" y="38"/>
                </a:lnTo>
                <a:lnTo>
                  <a:pt x="254" y="34"/>
                </a:lnTo>
                <a:lnTo>
                  <a:pt x="254" y="34"/>
                </a:lnTo>
                <a:lnTo>
                  <a:pt x="256" y="32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60" y="28"/>
                </a:lnTo>
                <a:lnTo>
                  <a:pt x="260" y="28"/>
                </a:lnTo>
                <a:lnTo>
                  <a:pt x="264" y="26"/>
                </a:lnTo>
                <a:lnTo>
                  <a:pt x="266" y="22"/>
                </a:lnTo>
                <a:lnTo>
                  <a:pt x="266" y="22"/>
                </a:lnTo>
                <a:lnTo>
                  <a:pt x="268" y="22"/>
                </a:lnTo>
                <a:lnTo>
                  <a:pt x="270" y="20"/>
                </a:lnTo>
                <a:lnTo>
                  <a:pt x="270" y="20"/>
                </a:lnTo>
                <a:lnTo>
                  <a:pt x="276" y="16"/>
                </a:lnTo>
                <a:lnTo>
                  <a:pt x="276" y="16"/>
                </a:lnTo>
                <a:lnTo>
                  <a:pt x="282" y="12"/>
                </a:lnTo>
                <a:lnTo>
                  <a:pt x="282" y="12"/>
                </a:lnTo>
                <a:lnTo>
                  <a:pt x="288" y="10"/>
                </a:lnTo>
                <a:lnTo>
                  <a:pt x="288" y="10"/>
                </a:lnTo>
                <a:lnTo>
                  <a:pt x="292" y="8"/>
                </a:lnTo>
                <a:lnTo>
                  <a:pt x="296" y="6"/>
                </a:lnTo>
                <a:lnTo>
                  <a:pt x="296" y="6"/>
                </a:lnTo>
                <a:lnTo>
                  <a:pt x="298" y="6"/>
                </a:lnTo>
                <a:lnTo>
                  <a:pt x="302" y="4"/>
                </a:lnTo>
                <a:lnTo>
                  <a:pt x="302" y="4"/>
                </a:lnTo>
                <a:lnTo>
                  <a:pt x="306" y="2"/>
                </a:lnTo>
                <a:lnTo>
                  <a:pt x="308" y="2"/>
                </a:lnTo>
                <a:lnTo>
                  <a:pt x="308" y="2"/>
                </a:lnTo>
                <a:lnTo>
                  <a:pt x="310" y="2"/>
                </a:lnTo>
                <a:lnTo>
                  <a:pt x="310" y="2"/>
                </a:lnTo>
                <a:lnTo>
                  <a:pt x="312" y="2"/>
                </a:lnTo>
                <a:lnTo>
                  <a:pt x="314" y="2"/>
                </a:lnTo>
                <a:lnTo>
                  <a:pt x="318" y="2"/>
                </a:lnTo>
                <a:lnTo>
                  <a:pt x="318" y="2"/>
                </a:lnTo>
                <a:lnTo>
                  <a:pt x="320" y="0"/>
                </a:lnTo>
                <a:lnTo>
                  <a:pt x="322" y="0"/>
                </a:lnTo>
                <a:lnTo>
                  <a:pt x="322" y="0"/>
                </a:lnTo>
                <a:lnTo>
                  <a:pt x="322" y="2"/>
                </a:lnTo>
                <a:lnTo>
                  <a:pt x="326" y="2"/>
                </a:lnTo>
                <a:lnTo>
                  <a:pt x="326" y="2"/>
                </a:lnTo>
                <a:lnTo>
                  <a:pt x="328" y="0"/>
                </a:lnTo>
                <a:lnTo>
                  <a:pt x="330" y="2"/>
                </a:lnTo>
                <a:lnTo>
                  <a:pt x="334" y="2"/>
                </a:lnTo>
                <a:lnTo>
                  <a:pt x="334" y="2"/>
                </a:lnTo>
                <a:lnTo>
                  <a:pt x="338" y="2"/>
                </a:lnTo>
                <a:lnTo>
                  <a:pt x="342" y="4"/>
                </a:lnTo>
                <a:lnTo>
                  <a:pt x="342" y="4"/>
                </a:lnTo>
                <a:lnTo>
                  <a:pt x="348" y="6"/>
                </a:lnTo>
                <a:lnTo>
                  <a:pt x="348" y="6"/>
                </a:lnTo>
                <a:lnTo>
                  <a:pt x="352" y="8"/>
                </a:lnTo>
                <a:lnTo>
                  <a:pt x="354" y="12"/>
                </a:lnTo>
                <a:lnTo>
                  <a:pt x="354" y="12"/>
                </a:lnTo>
                <a:lnTo>
                  <a:pt x="358" y="14"/>
                </a:lnTo>
                <a:lnTo>
                  <a:pt x="360" y="14"/>
                </a:lnTo>
                <a:lnTo>
                  <a:pt x="360" y="14"/>
                </a:lnTo>
                <a:lnTo>
                  <a:pt x="364" y="18"/>
                </a:lnTo>
                <a:lnTo>
                  <a:pt x="366" y="20"/>
                </a:lnTo>
                <a:lnTo>
                  <a:pt x="366" y="20"/>
                </a:lnTo>
                <a:lnTo>
                  <a:pt x="370" y="22"/>
                </a:lnTo>
                <a:lnTo>
                  <a:pt x="376" y="26"/>
                </a:lnTo>
                <a:lnTo>
                  <a:pt x="376" y="26"/>
                </a:lnTo>
                <a:lnTo>
                  <a:pt x="380" y="32"/>
                </a:lnTo>
                <a:lnTo>
                  <a:pt x="382" y="36"/>
                </a:lnTo>
                <a:lnTo>
                  <a:pt x="382" y="36"/>
                </a:lnTo>
                <a:lnTo>
                  <a:pt x="382" y="40"/>
                </a:lnTo>
                <a:lnTo>
                  <a:pt x="384" y="44"/>
                </a:lnTo>
                <a:lnTo>
                  <a:pt x="384" y="44"/>
                </a:lnTo>
                <a:lnTo>
                  <a:pt x="386" y="52"/>
                </a:lnTo>
                <a:lnTo>
                  <a:pt x="386" y="52"/>
                </a:lnTo>
                <a:lnTo>
                  <a:pt x="386" y="58"/>
                </a:lnTo>
                <a:lnTo>
                  <a:pt x="384" y="58"/>
                </a:lnTo>
                <a:lnTo>
                  <a:pt x="384" y="58"/>
                </a:lnTo>
                <a:lnTo>
                  <a:pt x="386" y="64"/>
                </a:lnTo>
                <a:lnTo>
                  <a:pt x="386" y="64"/>
                </a:lnTo>
                <a:lnTo>
                  <a:pt x="384" y="60"/>
                </a:lnTo>
                <a:lnTo>
                  <a:pt x="384" y="60"/>
                </a:lnTo>
                <a:lnTo>
                  <a:pt x="384" y="68"/>
                </a:lnTo>
                <a:lnTo>
                  <a:pt x="384" y="70"/>
                </a:lnTo>
                <a:lnTo>
                  <a:pt x="384" y="70"/>
                </a:lnTo>
                <a:lnTo>
                  <a:pt x="382" y="76"/>
                </a:lnTo>
                <a:lnTo>
                  <a:pt x="382" y="76"/>
                </a:lnTo>
                <a:lnTo>
                  <a:pt x="382" y="74"/>
                </a:lnTo>
                <a:lnTo>
                  <a:pt x="382" y="74"/>
                </a:lnTo>
                <a:lnTo>
                  <a:pt x="382" y="78"/>
                </a:lnTo>
                <a:lnTo>
                  <a:pt x="382" y="78"/>
                </a:lnTo>
                <a:lnTo>
                  <a:pt x="382" y="82"/>
                </a:lnTo>
                <a:lnTo>
                  <a:pt x="380" y="84"/>
                </a:lnTo>
                <a:lnTo>
                  <a:pt x="380" y="84"/>
                </a:lnTo>
                <a:lnTo>
                  <a:pt x="382" y="80"/>
                </a:lnTo>
                <a:lnTo>
                  <a:pt x="382" y="80"/>
                </a:lnTo>
                <a:lnTo>
                  <a:pt x="378" y="92"/>
                </a:lnTo>
                <a:lnTo>
                  <a:pt x="378" y="92"/>
                </a:lnTo>
                <a:lnTo>
                  <a:pt x="374" y="106"/>
                </a:lnTo>
                <a:lnTo>
                  <a:pt x="374" y="106"/>
                </a:lnTo>
                <a:lnTo>
                  <a:pt x="370" y="112"/>
                </a:lnTo>
                <a:lnTo>
                  <a:pt x="370" y="118"/>
                </a:lnTo>
                <a:lnTo>
                  <a:pt x="370" y="124"/>
                </a:lnTo>
                <a:lnTo>
                  <a:pt x="372" y="130"/>
                </a:lnTo>
                <a:lnTo>
                  <a:pt x="372" y="130"/>
                </a:lnTo>
                <a:lnTo>
                  <a:pt x="378" y="142"/>
                </a:lnTo>
                <a:lnTo>
                  <a:pt x="378" y="142"/>
                </a:lnTo>
                <a:lnTo>
                  <a:pt x="380" y="146"/>
                </a:lnTo>
                <a:lnTo>
                  <a:pt x="380" y="146"/>
                </a:lnTo>
                <a:lnTo>
                  <a:pt x="386" y="152"/>
                </a:lnTo>
                <a:lnTo>
                  <a:pt x="386" y="152"/>
                </a:lnTo>
                <a:lnTo>
                  <a:pt x="388" y="158"/>
                </a:lnTo>
                <a:lnTo>
                  <a:pt x="388" y="158"/>
                </a:lnTo>
                <a:lnTo>
                  <a:pt x="412" y="192"/>
                </a:lnTo>
                <a:lnTo>
                  <a:pt x="440" y="224"/>
                </a:lnTo>
                <a:lnTo>
                  <a:pt x="440" y="224"/>
                </a:lnTo>
                <a:lnTo>
                  <a:pt x="446" y="240"/>
                </a:lnTo>
                <a:lnTo>
                  <a:pt x="450" y="256"/>
                </a:lnTo>
                <a:lnTo>
                  <a:pt x="450" y="256"/>
                </a:lnTo>
                <a:lnTo>
                  <a:pt x="456" y="298"/>
                </a:lnTo>
                <a:lnTo>
                  <a:pt x="460" y="340"/>
                </a:lnTo>
                <a:lnTo>
                  <a:pt x="462" y="384"/>
                </a:lnTo>
                <a:lnTo>
                  <a:pt x="462" y="426"/>
                </a:lnTo>
                <a:lnTo>
                  <a:pt x="462" y="426"/>
                </a:lnTo>
                <a:lnTo>
                  <a:pt x="460" y="446"/>
                </a:lnTo>
                <a:lnTo>
                  <a:pt x="458" y="466"/>
                </a:lnTo>
                <a:lnTo>
                  <a:pt x="458" y="484"/>
                </a:lnTo>
                <a:lnTo>
                  <a:pt x="458" y="504"/>
                </a:lnTo>
                <a:lnTo>
                  <a:pt x="458" y="504"/>
                </a:lnTo>
                <a:lnTo>
                  <a:pt x="458" y="560"/>
                </a:lnTo>
                <a:lnTo>
                  <a:pt x="460" y="588"/>
                </a:lnTo>
                <a:lnTo>
                  <a:pt x="466" y="616"/>
                </a:lnTo>
                <a:lnTo>
                  <a:pt x="466" y="616"/>
                </a:lnTo>
                <a:lnTo>
                  <a:pt x="468" y="634"/>
                </a:lnTo>
                <a:lnTo>
                  <a:pt x="468" y="644"/>
                </a:lnTo>
                <a:lnTo>
                  <a:pt x="466" y="648"/>
                </a:lnTo>
                <a:lnTo>
                  <a:pt x="462" y="650"/>
                </a:lnTo>
                <a:lnTo>
                  <a:pt x="456" y="652"/>
                </a:lnTo>
                <a:lnTo>
                  <a:pt x="444" y="652"/>
                </a:lnTo>
                <a:lnTo>
                  <a:pt x="442" y="656"/>
                </a:lnTo>
                <a:lnTo>
                  <a:pt x="442" y="662"/>
                </a:lnTo>
                <a:lnTo>
                  <a:pt x="442" y="662"/>
                </a:lnTo>
                <a:lnTo>
                  <a:pt x="442" y="678"/>
                </a:lnTo>
                <a:lnTo>
                  <a:pt x="444" y="686"/>
                </a:lnTo>
                <a:lnTo>
                  <a:pt x="446" y="692"/>
                </a:lnTo>
                <a:lnTo>
                  <a:pt x="446" y="692"/>
                </a:lnTo>
                <a:lnTo>
                  <a:pt x="452" y="706"/>
                </a:lnTo>
                <a:lnTo>
                  <a:pt x="452" y="718"/>
                </a:lnTo>
                <a:lnTo>
                  <a:pt x="454" y="730"/>
                </a:lnTo>
                <a:lnTo>
                  <a:pt x="454" y="746"/>
                </a:lnTo>
                <a:lnTo>
                  <a:pt x="454" y="746"/>
                </a:lnTo>
                <a:lnTo>
                  <a:pt x="458" y="756"/>
                </a:lnTo>
                <a:lnTo>
                  <a:pt x="464" y="768"/>
                </a:lnTo>
                <a:lnTo>
                  <a:pt x="470" y="782"/>
                </a:lnTo>
                <a:lnTo>
                  <a:pt x="472" y="792"/>
                </a:lnTo>
                <a:lnTo>
                  <a:pt x="472" y="792"/>
                </a:lnTo>
                <a:lnTo>
                  <a:pt x="474" y="804"/>
                </a:lnTo>
                <a:lnTo>
                  <a:pt x="474" y="816"/>
                </a:lnTo>
                <a:lnTo>
                  <a:pt x="474" y="828"/>
                </a:lnTo>
                <a:lnTo>
                  <a:pt x="476" y="840"/>
                </a:lnTo>
                <a:lnTo>
                  <a:pt x="476" y="840"/>
                </a:lnTo>
                <a:lnTo>
                  <a:pt x="478" y="852"/>
                </a:lnTo>
                <a:lnTo>
                  <a:pt x="484" y="862"/>
                </a:lnTo>
                <a:lnTo>
                  <a:pt x="490" y="870"/>
                </a:lnTo>
                <a:lnTo>
                  <a:pt x="496" y="882"/>
                </a:lnTo>
                <a:lnTo>
                  <a:pt x="496" y="882"/>
                </a:lnTo>
                <a:lnTo>
                  <a:pt x="498" y="894"/>
                </a:lnTo>
                <a:lnTo>
                  <a:pt x="500" y="910"/>
                </a:lnTo>
                <a:lnTo>
                  <a:pt x="498" y="924"/>
                </a:lnTo>
                <a:lnTo>
                  <a:pt x="500" y="940"/>
                </a:lnTo>
                <a:lnTo>
                  <a:pt x="500" y="940"/>
                </a:lnTo>
                <a:lnTo>
                  <a:pt x="504" y="968"/>
                </a:lnTo>
                <a:lnTo>
                  <a:pt x="508" y="996"/>
                </a:lnTo>
                <a:lnTo>
                  <a:pt x="508" y="996"/>
                </a:lnTo>
                <a:lnTo>
                  <a:pt x="510" y="1020"/>
                </a:lnTo>
                <a:lnTo>
                  <a:pt x="510" y="1044"/>
                </a:lnTo>
                <a:lnTo>
                  <a:pt x="510" y="1044"/>
                </a:lnTo>
                <a:lnTo>
                  <a:pt x="512" y="1060"/>
                </a:lnTo>
                <a:lnTo>
                  <a:pt x="514" y="1070"/>
                </a:lnTo>
                <a:lnTo>
                  <a:pt x="516" y="1080"/>
                </a:lnTo>
                <a:lnTo>
                  <a:pt x="516" y="1096"/>
                </a:lnTo>
                <a:lnTo>
                  <a:pt x="516" y="1096"/>
                </a:lnTo>
                <a:lnTo>
                  <a:pt x="514" y="1106"/>
                </a:lnTo>
                <a:lnTo>
                  <a:pt x="508" y="1114"/>
                </a:lnTo>
                <a:lnTo>
                  <a:pt x="508" y="1148"/>
                </a:lnTo>
                <a:lnTo>
                  <a:pt x="508" y="1148"/>
                </a:lnTo>
                <a:lnTo>
                  <a:pt x="504" y="1150"/>
                </a:lnTo>
                <a:lnTo>
                  <a:pt x="496" y="1154"/>
                </a:lnTo>
                <a:lnTo>
                  <a:pt x="480" y="1156"/>
                </a:lnTo>
                <a:lnTo>
                  <a:pt x="472" y="1156"/>
                </a:lnTo>
                <a:lnTo>
                  <a:pt x="464" y="1154"/>
                </a:lnTo>
                <a:lnTo>
                  <a:pt x="458" y="1152"/>
                </a:lnTo>
                <a:lnTo>
                  <a:pt x="452" y="1148"/>
                </a:lnTo>
                <a:lnTo>
                  <a:pt x="452" y="1148"/>
                </a:lnTo>
                <a:lnTo>
                  <a:pt x="440" y="1154"/>
                </a:lnTo>
                <a:lnTo>
                  <a:pt x="422" y="1160"/>
                </a:lnTo>
                <a:lnTo>
                  <a:pt x="404" y="1162"/>
                </a:lnTo>
                <a:lnTo>
                  <a:pt x="384" y="1164"/>
                </a:lnTo>
                <a:lnTo>
                  <a:pt x="364" y="1162"/>
                </a:lnTo>
                <a:lnTo>
                  <a:pt x="344" y="1160"/>
                </a:lnTo>
                <a:lnTo>
                  <a:pt x="328" y="1156"/>
                </a:lnTo>
                <a:lnTo>
                  <a:pt x="312" y="1150"/>
                </a:lnTo>
                <a:lnTo>
                  <a:pt x="312" y="1150"/>
                </a:lnTo>
                <a:lnTo>
                  <a:pt x="312" y="1144"/>
                </a:lnTo>
                <a:lnTo>
                  <a:pt x="314" y="1138"/>
                </a:lnTo>
                <a:lnTo>
                  <a:pt x="318" y="1134"/>
                </a:lnTo>
                <a:lnTo>
                  <a:pt x="324" y="1132"/>
                </a:lnTo>
                <a:lnTo>
                  <a:pt x="338" y="1128"/>
                </a:lnTo>
                <a:lnTo>
                  <a:pt x="352" y="1128"/>
                </a:lnTo>
                <a:lnTo>
                  <a:pt x="352" y="1128"/>
                </a:lnTo>
                <a:lnTo>
                  <a:pt x="380" y="1124"/>
                </a:lnTo>
                <a:lnTo>
                  <a:pt x="380" y="1124"/>
                </a:lnTo>
                <a:lnTo>
                  <a:pt x="386" y="1122"/>
                </a:lnTo>
                <a:lnTo>
                  <a:pt x="392" y="1118"/>
                </a:lnTo>
                <a:lnTo>
                  <a:pt x="398" y="1114"/>
                </a:lnTo>
                <a:lnTo>
                  <a:pt x="402" y="1108"/>
                </a:lnTo>
                <a:lnTo>
                  <a:pt x="406" y="1098"/>
                </a:lnTo>
                <a:lnTo>
                  <a:pt x="406" y="1094"/>
                </a:lnTo>
                <a:lnTo>
                  <a:pt x="406" y="1094"/>
                </a:lnTo>
                <a:lnTo>
                  <a:pt x="412" y="1086"/>
                </a:lnTo>
                <a:lnTo>
                  <a:pt x="418" y="1078"/>
                </a:lnTo>
                <a:lnTo>
                  <a:pt x="420" y="1070"/>
                </a:lnTo>
                <a:lnTo>
                  <a:pt x="422" y="1062"/>
                </a:lnTo>
                <a:lnTo>
                  <a:pt x="422" y="1062"/>
                </a:lnTo>
                <a:lnTo>
                  <a:pt x="422" y="1060"/>
                </a:lnTo>
                <a:lnTo>
                  <a:pt x="422" y="1060"/>
                </a:lnTo>
                <a:lnTo>
                  <a:pt x="426" y="1040"/>
                </a:lnTo>
                <a:lnTo>
                  <a:pt x="426" y="1040"/>
                </a:lnTo>
                <a:lnTo>
                  <a:pt x="426" y="1026"/>
                </a:lnTo>
                <a:lnTo>
                  <a:pt x="424" y="1012"/>
                </a:lnTo>
                <a:lnTo>
                  <a:pt x="424" y="1012"/>
                </a:lnTo>
                <a:lnTo>
                  <a:pt x="420" y="1000"/>
                </a:lnTo>
                <a:lnTo>
                  <a:pt x="422" y="988"/>
                </a:lnTo>
                <a:lnTo>
                  <a:pt x="422" y="988"/>
                </a:lnTo>
                <a:lnTo>
                  <a:pt x="420" y="980"/>
                </a:lnTo>
                <a:lnTo>
                  <a:pt x="418" y="974"/>
                </a:lnTo>
                <a:lnTo>
                  <a:pt x="412" y="960"/>
                </a:lnTo>
                <a:lnTo>
                  <a:pt x="412" y="960"/>
                </a:lnTo>
                <a:lnTo>
                  <a:pt x="400" y="936"/>
                </a:lnTo>
                <a:lnTo>
                  <a:pt x="390" y="910"/>
                </a:lnTo>
                <a:lnTo>
                  <a:pt x="390" y="910"/>
                </a:lnTo>
                <a:lnTo>
                  <a:pt x="386" y="898"/>
                </a:lnTo>
                <a:lnTo>
                  <a:pt x="382" y="880"/>
                </a:lnTo>
                <a:lnTo>
                  <a:pt x="378" y="862"/>
                </a:lnTo>
                <a:lnTo>
                  <a:pt x="374" y="850"/>
                </a:lnTo>
                <a:lnTo>
                  <a:pt x="374" y="850"/>
                </a:lnTo>
                <a:lnTo>
                  <a:pt x="368" y="832"/>
                </a:lnTo>
                <a:lnTo>
                  <a:pt x="362" y="810"/>
                </a:lnTo>
                <a:lnTo>
                  <a:pt x="362" y="810"/>
                </a:lnTo>
                <a:lnTo>
                  <a:pt x="358" y="798"/>
                </a:lnTo>
                <a:lnTo>
                  <a:pt x="358" y="798"/>
                </a:lnTo>
                <a:lnTo>
                  <a:pt x="352" y="784"/>
                </a:lnTo>
                <a:lnTo>
                  <a:pt x="348" y="780"/>
                </a:lnTo>
                <a:lnTo>
                  <a:pt x="342" y="776"/>
                </a:lnTo>
                <a:lnTo>
                  <a:pt x="342" y="776"/>
                </a:lnTo>
                <a:lnTo>
                  <a:pt x="338" y="784"/>
                </a:lnTo>
                <a:lnTo>
                  <a:pt x="334" y="792"/>
                </a:lnTo>
                <a:lnTo>
                  <a:pt x="330" y="808"/>
                </a:lnTo>
                <a:lnTo>
                  <a:pt x="322" y="824"/>
                </a:lnTo>
                <a:lnTo>
                  <a:pt x="318" y="834"/>
                </a:lnTo>
                <a:lnTo>
                  <a:pt x="310" y="846"/>
                </a:lnTo>
                <a:lnTo>
                  <a:pt x="310" y="846"/>
                </a:lnTo>
                <a:lnTo>
                  <a:pt x="306" y="858"/>
                </a:lnTo>
                <a:lnTo>
                  <a:pt x="302" y="866"/>
                </a:lnTo>
                <a:lnTo>
                  <a:pt x="292" y="886"/>
                </a:lnTo>
                <a:lnTo>
                  <a:pt x="292" y="886"/>
                </a:lnTo>
                <a:lnTo>
                  <a:pt x="280" y="914"/>
                </a:lnTo>
                <a:lnTo>
                  <a:pt x="264" y="940"/>
                </a:lnTo>
                <a:lnTo>
                  <a:pt x="264" y="940"/>
                </a:lnTo>
                <a:lnTo>
                  <a:pt x="250" y="968"/>
                </a:lnTo>
                <a:lnTo>
                  <a:pt x="236" y="994"/>
                </a:lnTo>
                <a:lnTo>
                  <a:pt x="236" y="994"/>
                </a:lnTo>
                <a:lnTo>
                  <a:pt x="226" y="1014"/>
                </a:lnTo>
                <a:lnTo>
                  <a:pt x="216" y="1034"/>
                </a:lnTo>
                <a:lnTo>
                  <a:pt x="216" y="1034"/>
                </a:lnTo>
                <a:lnTo>
                  <a:pt x="208" y="1054"/>
                </a:lnTo>
                <a:lnTo>
                  <a:pt x="200" y="1066"/>
                </a:lnTo>
                <a:lnTo>
                  <a:pt x="200" y="1066"/>
                </a:lnTo>
                <a:lnTo>
                  <a:pt x="204" y="1080"/>
                </a:lnTo>
                <a:lnTo>
                  <a:pt x="204" y="1088"/>
                </a:lnTo>
                <a:lnTo>
                  <a:pt x="204" y="1092"/>
                </a:lnTo>
                <a:lnTo>
                  <a:pt x="202" y="1094"/>
                </a:lnTo>
                <a:lnTo>
                  <a:pt x="202" y="1094"/>
                </a:lnTo>
                <a:lnTo>
                  <a:pt x="198" y="1098"/>
                </a:lnTo>
                <a:lnTo>
                  <a:pt x="196" y="1102"/>
                </a:lnTo>
                <a:lnTo>
                  <a:pt x="192" y="1112"/>
                </a:lnTo>
                <a:lnTo>
                  <a:pt x="188" y="1132"/>
                </a:lnTo>
                <a:lnTo>
                  <a:pt x="188" y="1132"/>
                </a:lnTo>
                <a:lnTo>
                  <a:pt x="186" y="1134"/>
                </a:lnTo>
                <a:lnTo>
                  <a:pt x="180" y="1134"/>
                </a:lnTo>
                <a:lnTo>
                  <a:pt x="162" y="1130"/>
                </a:lnTo>
                <a:lnTo>
                  <a:pt x="154" y="1126"/>
                </a:lnTo>
                <a:lnTo>
                  <a:pt x="144" y="1122"/>
                </a:lnTo>
                <a:lnTo>
                  <a:pt x="138" y="1116"/>
                </a:lnTo>
                <a:lnTo>
                  <a:pt x="134" y="1108"/>
                </a:lnTo>
                <a:lnTo>
                  <a:pt x="134" y="1108"/>
                </a:lnTo>
                <a:lnTo>
                  <a:pt x="92" y="1106"/>
                </a:lnTo>
                <a:lnTo>
                  <a:pt x="74" y="1102"/>
                </a:lnTo>
                <a:lnTo>
                  <a:pt x="56" y="1098"/>
                </a:lnTo>
                <a:lnTo>
                  <a:pt x="38" y="1092"/>
                </a:lnTo>
                <a:lnTo>
                  <a:pt x="24" y="1086"/>
                </a:lnTo>
                <a:lnTo>
                  <a:pt x="10" y="1076"/>
                </a:lnTo>
                <a:lnTo>
                  <a:pt x="0" y="1064"/>
                </a:lnTo>
                <a:lnTo>
                  <a:pt x="0" y="1064"/>
                </a:lnTo>
                <a:lnTo>
                  <a:pt x="2" y="1062"/>
                </a:lnTo>
                <a:lnTo>
                  <a:pt x="4" y="1060"/>
                </a:lnTo>
                <a:lnTo>
                  <a:pt x="12" y="1060"/>
                </a:lnTo>
                <a:lnTo>
                  <a:pt x="42" y="1064"/>
                </a:lnTo>
                <a:lnTo>
                  <a:pt x="60" y="1064"/>
                </a:lnTo>
                <a:lnTo>
                  <a:pt x="76" y="1064"/>
                </a:lnTo>
                <a:lnTo>
                  <a:pt x="92" y="1060"/>
                </a:lnTo>
                <a:lnTo>
                  <a:pt x="98" y="1058"/>
                </a:lnTo>
                <a:lnTo>
                  <a:pt x="104" y="1052"/>
                </a:lnTo>
                <a:lnTo>
                  <a:pt x="104" y="10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sp>
        <p:nvSpPr>
          <p:cNvPr id="938" name="Freeform 728"/>
          <p:cNvSpPr>
            <a:spLocks noEditPoints="1"/>
          </p:cNvSpPr>
          <p:nvPr/>
        </p:nvSpPr>
        <p:spPr bwMode="auto">
          <a:xfrm>
            <a:off x="3655831" y="4517999"/>
            <a:ext cx="1993082" cy="713313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endParaRPr lang="en-GB" sz="1539"/>
          </a:p>
        </p:txBody>
      </p:sp>
      <p:grpSp>
        <p:nvGrpSpPr>
          <p:cNvPr id="939" name="Group 938"/>
          <p:cNvGrpSpPr/>
          <p:nvPr/>
        </p:nvGrpSpPr>
        <p:grpSpPr>
          <a:xfrm>
            <a:off x="4701387" y="4706556"/>
            <a:ext cx="389434" cy="614895"/>
            <a:chOff x="3580065" y="3598658"/>
            <a:chExt cx="934607" cy="1475695"/>
          </a:xfrm>
        </p:grpSpPr>
        <p:sp>
          <p:nvSpPr>
            <p:cNvPr id="940" name="Freeform 121"/>
            <p:cNvSpPr>
              <a:spLocks noEditPoints="1"/>
            </p:cNvSpPr>
            <p:nvPr/>
          </p:nvSpPr>
          <p:spPr bwMode="auto">
            <a:xfrm>
              <a:off x="3580065" y="3598658"/>
              <a:ext cx="934607" cy="1475695"/>
            </a:xfrm>
            <a:custGeom>
              <a:avLst/>
              <a:gdLst>
                <a:gd name="T0" fmla="*/ 200 w 798"/>
                <a:gd name="T1" fmla="*/ 1136 h 1260"/>
                <a:gd name="T2" fmla="*/ 208 w 798"/>
                <a:gd name="T3" fmla="*/ 1210 h 1260"/>
                <a:gd name="T4" fmla="*/ 222 w 798"/>
                <a:gd name="T5" fmla="*/ 1188 h 1260"/>
                <a:gd name="T6" fmla="*/ 286 w 798"/>
                <a:gd name="T7" fmla="*/ 1240 h 1260"/>
                <a:gd name="T8" fmla="*/ 374 w 798"/>
                <a:gd name="T9" fmla="*/ 1236 h 1260"/>
                <a:gd name="T10" fmla="*/ 304 w 798"/>
                <a:gd name="T11" fmla="*/ 1206 h 1260"/>
                <a:gd name="T12" fmla="*/ 286 w 798"/>
                <a:gd name="T13" fmla="*/ 1126 h 1260"/>
                <a:gd name="T14" fmla="*/ 376 w 798"/>
                <a:gd name="T15" fmla="*/ 974 h 1260"/>
                <a:gd name="T16" fmla="*/ 440 w 798"/>
                <a:gd name="T17" fmla="*/ 880 h 1260"/>
                <a:gd name="T18" fmla="*/ 482 w 798"/>
                <a:gd name="T19" fmla="*/ 826 h 1260"/>
                <a:gd name="T20" fmla="*/ 530 w 798"/>
                <a:gd name="T21" fmla="*/ 944 h 1260"/>
                <a:gd name="T22" fmla="*/ 612 w 798"/>
                <a:gd name="T23" fmla="*/ 1132 h 1260"/>
                <a:gd name="T24" fmla="*/ 602 w 798"/>
                <a:gd name="T25" fmla="*/ 1176 h 1260"/>
                <a:gd name="T26" fmla="*/ 624 w 798"/>
                <a:gd name="T27" fmla="*/ 1242 h 1260"/>
                <a:gd name="T28" fmla="*/ 630 w 798"/>
                <a:gd name="T29" fmla="*/ 1224 h 1260"/>
                <a:gd name="T30" fmla="*/ 752 w 798"/>
                <a:gd name="T31" fmla="*/ 1256 h 1260"/>
                <a:gd name="T32" fmla="*/ 776 w 798"/>
                <a:gd name="T33" fmla="*/ 1232 h 1260"/>
                <a:gd name="T34" fmla="*/ 722 w 798"/>
                <a:gd name="T35" fmla="*/ 1218 h 1260"/>
                <a:gd name="T36" fmla="*/ 610 w 798"/>
                <a:gd name="T37" fmla="*/ 960 h 1260"/>
                <a:gd name="T38" fmla="*/ 588 w 798"/>
                <a:gd name="T39" fmla="*/ 828 h 1260"/>
                <a:gd name="T40" fmla="*/ 580 w 798"/>
                <a:gd name="T41" fmla="*/ 736 h 1260"/>
                <a:gd name="T42" fmla="*/ 552 w 798"/>
                <a:gd name="T43" fmla="*/ 596 h 1260"/>
                <a:gd name="T44" fmla="*/ 612 w 798"/>
                <a:gd name="T45" fmla="*/ 564 h 1260"/>
                <a:gd name="T46" fmla="*/ 636 w 798"/>
                <a:gd name="T47" fmla="*/ 554 h 1260"/>
                <a:gd name="T48" fmla="*/ 688 w 798"/>
                <a:gd name="T49" fmla="*/ 594 h 1260"/>
                <a:gd name="T50" fmla="*/ 652 w 798"/>
                <a:gd name="T51" fmla="*/ 512 h 1260"/>
                <a:gd name="T52" fmla="*/ 580 w 798"/>
                <a:gd name="T53" fmla="*/ 424 h 1260"/>
                <a:gd name="T54" fmla="*/ 502 w 798"/>
                <a:gd name="T55" fmla="*/ 250 h 1260"/>
                <a:gd name="T56" fmla="*/ 488 w 798"/>
                <a:gd name="T57" fmla="*/ 188 h 1260"/>
                <a:gd name="T58" fmla="*/ 508 w 798"/>
                <a:gd name="T59" fmla="*/ 180 h 1260"/>
                <a:gd name="T60" fmla="*/ 520 w 798"/>
                <a:gd name="T61" fmla="*/ 160 h 1260"/>
                <a:gd name="T62" fmla="*/ 534 w 798"/>
                <a:gd name="T63" fmla="*/ 142 h 1260"/>
                <a:gd name="T64" fmla="*/ 526 w 798"/>
                <a:gd name="T65" fmla="*/ 106 h 1260"/>
                <a:gd name="T66" fmla="*/ 510 w 798"/>
                <a:gd name="T67" fmla="*/ 36 h 1260"/>
                <a:gd name="T68" fmla="*/ 498 w 798"/>
                <a:gd name="T69" fmla="*/ 24 h 1260"/>
                <a:gd name="T70" fmla="*/ 436 w 798"/>
                <a:gd name="T71" fmla="*/ 0 h 1260"/>
                <a:gd name="T72" fmla="*/ 400 w 798"/>
                <a:gd name="T73" fmla="*/ 14 h 1260"/>
                <a:gd name="T74" fmla="*/ 380 w 798"/>
                <a:gd name="T75" fmla="*/ 34 h 1260"/>
                <a:gd name="T76" fmla="*/ 346 w 798"/>
                <a:gd name="T77" fmla="*/ 80 h 1260"/>
                <a:gd name="T78" fmla="*/ 330 w 798"/>
                <a:gd name="T79" fmla="*/ 120 h 1260"/>
                <a:gd name="T80" fmla="*/ 344 w 798"/>
                <a:gd name="T81" fmla="*/ 116 h 1260"/>
                <a:gd name="T82" fmla="*/ 324 w 798"/>
                <a:gd name="T83" fmla="*/ 178 h 1260"/>
                <a:gd name="T84" fmla="*/ 300 w 798"/>
                <a:gd name="T85" fmla="*/ 210 h 1260"/>
                <a:gd name="T86" fmla="*/ 324 w 798"/>
                <a:gd name="T87" fmla="*/ 224 h 1260"/>
                <a:gd name="T88" fmla="*/ 318 w 798"/>
                <a:gd name="T89" fmla="*/ 286 h 1260"/>
                <a:gd name="T90" fmla="*/ 300 w 798"/>
                <a:gd name="T91" fmla="*/ 398 h 1260"/>
                <a:gd name="T92" fmla="*/ 250 w 798"/>
                <a:gd name="T93" fmla="*/ 528 h 1260"/>
                <a:gd name="T94" fmla="*/ 204 w 798"/>
                <a:gd name="T95" fmla="*/ 640 h 1260"/>
                <a:gd name="T96" fmla="*/ 160 w 798"/>
                <a:gd name="T97" fmla="*/ 698 h 1260"/>
                <a:gd name="T98" fmla="*/ 60 w 798"/>
                <a:gd name="T99" fmla="*/ 728 h 1260"/>
                <a:gd name="T100" fmla="*/ 6 w 798"/>
                <a:gd name="T101" fmla="*/ 878 h 1260"/>
                <a:gd name="T102" fmla="*/ 128 w 798"/>
                <a:gd name="T103" fmla="*/ 982 h 1260"/>
                <a:gd name="T104" fmla="*/ 258 w 798"/>
                <a:gd name="T105" fmla="*/ 668 h 1260"/>
                <a:gd name="T106" fmla="*/ 264 w 798"/>
                <a:gd name="T107" fmla="*/ 650 h 1260"/>
                <a:gd name="T108" fmla="*/ 286 w 798"/>
                <a:gd name="T109" fmla="*/ 622 h 1260"/>
                <a:gd name="T110" fmla="*/ 364 w 798"/>
                <a:gd name="T111" fmla="*/ 580 h 1260"/>
                <a:gd name="T112" fmla="*/ 344 w 798"/>
                <a:gd name="T113" fmla="*/ 670 h 1260"/>
                <a:gd name="T114" fmla="*/ 318 w 798"/>
                <a:gd name="T115" fmla="*/ 768 h 1260"/>
                <a:gd name="T116" fmla="*/ 258 w 798"/>
                <a:gd name="T117" fmla="*/ 668 h 1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98" h="1260">
                  <a:moveTo>
                    <a:pt x="268" y="1038"/>
                  </a:moveTo>
                  <a:lnTo>
                    <a:pt x="268" y="1038"/>
                  </a:lnTo>
                  <a:lnTo>
                    <a:pt x="256" y="1070"/>
                  </a:lnTo>
                  <a:lnTo>
                    <a:pt x="242" y="1096"/>
                  </a:lnTo>
                  <a:lnTo>
                    <a:pt x="234" y="1108"/>
                  </a:lnTo>
                  <a:lnTo>
                    <a:pt x="226" y="1118"/>
                  </a:lnTo>
                  <a:lnTo>
                    <a:pt x="214" y="1128"/>
                  </a:lnTo>
                  <a:lnTo>
                    <a:pt x="200" y="1136"/>
                  </a:lnTo>
                  <a:lnTo>
                    <a:pt x="200" y="1136"/>
                  </a:lnTo>
                  <a:lnTo>
                    <a:pt x="194" y="1148"/>
                  </a:lnTo>
                  <a:lnTo>
                    <a:pt x="192" y="1158"/>
                  </a:lnTo>
                  <a:lnTo>
                    <a:pt x="194" y="1168"/>
                  </a:lnTo>
                  <a:lnTo>
                    <a:pt x="198" y="1178"/>
                  </a:lnTo>
                  <a:lnTo>
                    <a:pt x="204" y="1188"/>
                  </a:lnTo>
                  <a:lnTo>
                    <a:pt x="206" y="1198"/>
                  </a:lnTo>
                  <a:lnTo>
                    <a:pt x="208" y="1210"/>
                  </a:lnTo>
                  <a:lnTo>
                    <a:pt x="206" y="1224"/>
                  </a:lnTo>
                  <a:lnTo>
                    <a:pt x="206" y="1224"/>
                  </a:lnTo>
                  <a:lnTo>
                    <a:pt x="210" y="1222"/>
                  </a:lnTo>
                  <a:lnTo>
                    <a:pt x="212" y="1216"/>
                  </a:lnTo>
                  <a:lnTo>
                    <a:pt x="214" y="1206"/>
                  </a:lnTo>
                  <a:lnTo>
                    <a:pt x="214" y="1194"/>
                  </a:lnTo>
                  <a:lnTo>
                    <a:pt x="218" y="1190"/>
                  </a:lnTo>
                  <a:lnTo>
                    <a:pt x="222" y="1188"/>
                  </a:lnTo>
                  <a:lnTo>
                    <a:pt x="222" y="1188"/>
                  </a:lnTo>
                  <a:lnTo>
                    <a:pt x="232" y="1190"/>
                  </a:lnTo>
                  <a:lnTo>
                    <a:pt x="240" y="1194"/>
                  </a:lnTo>
                  <a:lnTo>
                    <a:pt x="248" y="1202"/>
                  </a:lnTo>
                  <a:lnTo>
                    <a:pt x="254" y="1210"/>
                  </a:lnTo>
                  <a:lnTo>
                    <a:pt x="268" y="1226"/>
                  </a:lnTo>
                  <a:lnTo>
                    <a:pt x="276" y="1234"/>
                  </a:lnTo>
                  <a:lnTo>
                    <a:pt x="286" y="1240"/>
                  </a:lnTo>
                  <a:lnTo>
                    <a:pt x="286" y="1240"/>
                  </a:lnTo>
                  <a:lnTo>
                    <a:pt x="296" y="1242"/>
                  </a:lnTo>
                  <a:lnTo>
                    <a:pt x="306" y="1244"/>
                  </a:lnTo>
                  <a:lnTo>
                    <a:pt x="328" y="1244"/>
                  </a:lnTo>
                  <a:lnTo>
                    <a:pt x="350" y="1242"/>
                  </a:lnTo>
                  <a:lnTo>
                    <a:pt x="372" y="1236"/>
                  </a:lnTo>
                  <a:lnTo>
                    <a:pt x="372" y="1236"/>
                  </a:lnTo>
                  <a:lnTo>
                    <a:pt x="374" y="1236"/>
                  </a:lnTo>
                  <a:lnTo>
                    <a:pt x="372" y="1234"/>
                  </a:lnTo>
                  <a:lnTo>
                    <a:pt x="368" y="1234"/>
                  </a:lnTo>
                  <a:lnTo>
                    <a:pt x="348" y="1228"/>
                  </a:lnTo>
                  <a:lnTo>
                    <a:pt x="334" y="1224"/>
                  </a:lnTo>
                  <a:lnTo>
                    <a:pt x="322" y="1220"/>
                  </a:lnTo>
                  <a:lnTo>
                    <a:pt x="312" y="1214"/>
                  </a:lnTo>
                  <a:lnTo>
                    <a:pt x="304" y="1206"/>
                  </a:lnTo>
                  <a:lnTo>
                    <a:pt x="304" y="1206"/>
                  </a:lnTo>
                  <a:lnTo>
                    <a:pt x="302" y="1196"/>
                  </a:lnTo>
                  <a:lnTo>
                    <a:pt x="298" y="1186"/>
                  </a:lnTo>
                  <a:lnTo>
                    <a:pt x="288" y="1170"/>
                  </a:lnTo>
                  <a:lnTo>
                    <a:pt x="286" y="1160"/>
                  </a:lnTo>
                  <a:lnTo>
                    <a:pt x="284" y="1150"/>
                  </a:lnTo>
                  <a:lnTo>
                    <a:pt x="282" y="1140"/>
                  </a:lnTo>
                  <a:lnTo>
                    <a:pt x="286" y="1126"/>
                  </a:lnTo>
                  <a:lnTo>
                    <a:pt x="286" y="1126"/>
                  </a:lnTo>
                  <a:lnTo>
                    <a:pt x="290" y="1116"/>
                  </a:lnTo>
                  <a:lnTo>
                    <a:pt x="294" y="1106"/>
                  </a:lnTo>
                  <a:lnTo>
                    <a:pt x="306" y="1086"/>
                  </a:lnTo>
                  <a:lnTo>
                    <a:pt x="340" y="1042"/>
                  </a:lnTo>
                  <a:lnTo>
                    <a:pt x="340" y="1042"/>
                  </a:lnTo>
                  <a:lnTo>
                    <a:pt x="354" y="1020"/>
                  </a:lnTo>
                  <a:lnTo>
                    <a:pt x="366" y="996"/>
                  </a:lnTo>
                  <a:lnTo>
                    <a:pt x="376" y="974"/>
                  </a:lnTo>
                  <a:lnTo>
                    <a:pt x="388" y="954"/>
                  </a:lnTo>
                  <a:lnTo>
                    <a:pt x="388" y="954"/>
                  </a:lnTo>
                  <a:lnTo>
                    <a:pt x="400" y="942"/>
                  </a:lnTo>
                  <a:lnTo>
                    <a:pt x="412" y="930"/>
                  </a:lnTo>
                  <a:lnTo>
                    <a:pt x="422" y="918"/>
                  </a:lnTo>
                  <a:lnTo>
                    <a:pt x="432" y="904"/>
                  </a:lnTo>
                  <a:lnTo>
                    <a:pt x="432" y="904"/>
                  </a:lnTo>
                  <a:lnTo>
                    <a:pt x="440" y="880"/>
                  </a:lnTo>
                  <a:lnTo>
                    <a:pt x="446" y="858"/>
                  </a:lnTo>
                  <a:lnTo>
                    <a:pt x="450" y="848"/>
                  </a:lnTo>
                  <a:lnTo>
                    <a:pt x="454" y="838"/>
                  </a:lnTo>
                  <a:lnTo>
                    <a:pt x="460" y="828"/>
                  </a:lnTo>
                  <a:lnTo>
                    <a:pt x="468" y="820"/>
                  </a:lnTo>
                  <a:lnTo>
                    <a:pt x="468" y="820"/>
                  </a:lnTo>
                  <a:lnTo>
                    <a:pt x="476" y="822"/>
                  </a:lnTo>
                  <a:lnTo>
                    <a:pt x="482" y="826"/>
                  </a:lnTo>
                  <a:lnTo>
                    <a:pt x="488" y="832"/>
                  </a:lnTo>
                  <a:lnTo>
                    <a:pt x="494" y="840"/>
                  </a:lnTo>
                  <a:lnTo>
                    <a:pt x="500" y="856"/>
                  </a:lnTo>
                  <a:lnTo>
                    <a:pt x="508" y="872"/>
                  </a:lnTo>
                  <a:lnTo>
                    <a:pt x="508" y="872"/>
                  </a:lnTo>
                  <a:lnTo>
                    <a:pt x="516" y="894"/>
                  </a:lnTo>
                  <a:lnTo>
                    <a:pt x="524" y="918"/>
                  </a:lnTo>
                  <a:lnTo>
                    <a:pt x="530" y="944"/>
                  </a:lnTo>
                  <a:lnTo>
                    <a:pt x="534" y="974"/>
                  </a:lnTo>
                  <a:lnTo>
                    <a:pt x="534" y="974"/>
                  </a:lnTo>
                  <a:lnTo>
                    <a:pt x="540" y="1002"/>
                  </a:lnTo>
                  <a:lnTo>
                    <a:pt x="550" y="1026"/>
                  </a:lnTo>
                  <a:lnTo>
                    <a:pt x="562" y="1048"/>
                  </a:lnTo>
                  <a:lnTo>
                    <a:pt x="574" y="1068"/>
                  </a:lnTo>
                  <a:lnTo>
                    <a:pt x="600" y="1110"/>
                  </a:lnTo>
                  <a:lnTo>
                    <a:pt x="612" y="1132"/>
                  </a:lnTo>
                  <a:lnTo>
                    <a:pt x="620" y="1154"/>
                  </a:lnTo>
                  <a:lnTo>
                    <a:pt x="620" y="1154"/>
                  </a:lnTo>
                  <a:lnTo>
                    <a:pt x="616" y="1160"/>
                  </a:lnTo>
                  <a:lnTo>
                    <a:pt x="616" y="1166"/>
                  </a:lnTo>
                  <a:lnTo>
                    <a:pt x="616" y="1166"/>
                  </a:lnTo>
                  <a:lnTo>
                    <a:pt x="610" y="1168"/>
                  </a:lnTo>
                  <a:lnTo>
                    <a:pt x="606" y="1172"/>
                  </a:lnTo>
                  <a:lnTo>
                    <a:pt x="602" y="1176"/>
                  </a:lnTo>
                  <a:lnTo>
                    <a:pt x="600" y="1180"/>
                  </a:lnTo>
                  <a:lnTo>
                    <a:pt x="598" y="1194"/>
                  </a:lnTo>
                  <a:lnTo>
                    <a:pt x="598" y="1208"/>
                  </a:lnTo>
                  <a:lnTo>
                    <a:pt x="598" y="1208"/>
                  </a:lnTo>
                  <a:lnTo>
                    <a:pt x="608" y="1218"/>
                  </a:lnTo>
                  <a:lnTo>
                    <a:pt x="618" y="1228"/>
                  </a:lnTo>
                  <a:lnTo>
                    <a:pt x="622" y="1234"/>
                  </a:lnTo>
                  <a:lnTo>
                    <a:pt x="624" y="1242"/>
                  </a:lnTo>
                  <a:lnTo>
                    <a:pt x="626" y="1250"/>
                  </a:lnTo>
                  <a:lnTo>
                    <a:pt x="626" y="1260"/>
                  </a:lnTo>
                  <a:lnTo>
                    <a:pt x="626" y="1260"/>
                  </a:lnTo>
                  <a:lnTo>
                    <a:pt x="628" y="1260"/>
                  </a:lnTo>
                  <a:lnTo>
                    <a:pt x="630" y="1256"/>
                  </a:lnTo>
                  <a:lnTo>
                    <a:pt x="628" y="1242"/>
                  </a:lnTo>
                  <a:lnTo>
                    <a:pt x="628" y="1230"/>
                  </a:lnTo>
                  <a:lnTo>
                    <a:pt x="630" y="1224"/>
                  </a:lnTo>
                  <a:lnTo>
                    <a:pt x="634" y="1220"/>
                  </a:lnTo>
                  <a:lnTo>
                    <a:pt x="634" y="1220"/>
                  </a:lnTo>
                  <a:lnTo>
                    <a:pt x="652" y="1228"/>
                  </a:lnTo>
                  <a:lnTo>
                    <a:pt x="668" y="1236"/>
                  </a:lnTo>
                  <a:lnTo>
                    <a:pt x="696" y="1258"/>
                  </a:lnTo>
                  <a:lnTo>
                    <a:pt x="696" y="1258"/>
                  </a:lnTo>
                  <a:lnTo>
                    <a:pt x="726" y="1258"/>
                  </a:lnTo>
                  <a:lnTo>
                    <a:pt x="752" y="1256"/>
                  </a:lnTo>
                  <a:lnTo>
                    <a:pt x="778" y="1250"/>
                  </a:lnTo>
                  <a:lnTo>
                    <a:pt x="788" y="1246"/>
                  </a:lnTo>
                  <a:lnTo>
                    <a:pt x="798" y="1242"/>
                  </a:lnTo>
                  <a:lnTo>
                    <a:pt x="798" y="1242"/>
                  </a:lnTo>
                  <a:lnTo>
                    <a:pt x="796" y="1238"/>
                  </a:lnTo>
                  <a:lnTo>
                    <a:pt x="790" y="1234"/>
                  </a:lnTo>
                  <a:lnTo>
                    <a:pt x="784" y="1234"/>
                  </a:lnTo>
                  <a:lnTo>
                    <a:pt x="776" y="1232"/>
                  </a:lnTo>
                  <a:lnTo>
                    <a:pt x="760" y="1234"/>
                  </a:lnTo>
                  <a:lnTo>
                    <a:pt x="744" y="1234"/>
                  </a:lnTo>
                  <a:lnTo>
                    <a:pt x="744" y="1234"/>
                  </a:lnTo>
                  <a:lnTo>
                    <a:pt x="740" y="1228"/>
                  </a:lnTo>
                  <a:lnTo>
                    <a:pt x="734" y="1224"/>
                  </a:lnTo>
                  <a:lnTo>
                    <a:pt x="728" y="1222"/>
                  </a:lnTo>
                  <a:lnTo>
                    <a:pt x="722" y="1218"/>
                  </a:lnTo>
                  <a:lnTo>
                    <a:pt x="722" y="1218"/>
                  </a:lnTo>
                  <a:lnTo>
                    <a:pt x="714" y="1208"/>
                  </a:lnTo>
                  <a:lnTo>
                    <a:pt x="704" y="1196"/>
                  </a:lnTo>
                  <a:lnTo>
                    <a:pt x="688" y="1168"/>
                  </a:lnTo>
                  <a:lnTo>
                    <a:pt x="672" y="1138"/>
                  </a:lnTo>
                  <a:lnTo>
                    <a:pt x="660" y="1106"/>
                  </a:lnTo>
                  <a:lnTo>
                    <a:pt x="634" y="1034"/>
                  </a:lnTo>
                  <a:lnTo>
                    <a:pt x="610" y="960"/>
                  </a:lnTo>
                  <a:lnTo>
                    <a:pt x="610" y="960"/>
                  </a:lnTo>
                  <a:lnTo>
                    <a:pt x="606" y="944"/>
                  </a:lnTo>
                  <a:lnTo>
                    <a:pt x="604" y="928"/>
                  </a:lnTo>
                  <a:lnTo>
                    <a:pt x="604" y="892"/>
                  </a:lnTo>
                  <a:lnTo>
                    <a:pt x="602" y="874"/>
                  </a:lnTo>
                  <a:lnTo>
                    <a:pt x="600" y="858"/>
                  </a:lnTo>
                  <a:lnTo>
                    <a:pt x="596" y="842"/>
                  </a:lnTo>
                  <a:lnTo>
                    <a:pt x="588" y="828"/>
                  </a:lnTo>
                  <a:lnTo>
                    <a:pt x="588" y="828"/>
                  </a:lnTo>
                  <a:lnTo>
                    <a:pt x="590" y="824"/>
                  </a:lnTo>
                  <a:lnTo>
                    <a:pt x="592" y="824"/>
                  </a:lnTo>
                  <a:lnTo>
                    <a:pt x="596" y="822"/>
                  </a:lnTo>
                  <a:lnTo>
                    <a:pt x="598" y="820"/>
                  </a:lnTo>
                  <a:lnTo>
                    <a:pt x="598" y="820"/>
                  </a:lnTo>
                  <a:lnTo>
                    <a:pt x="594" y="790"/>
                  </a:lnTo>
                  <a:lnTo>
                    <a:pt x="588" y="762"/>
                  </a:lnTo>
                  <a:lnTo>
                    <a:pt x="580" y="736"/>
                  </a:lnTo>
                  <a:lnTo>
                    <a:pt x="572" y="710"/>
                  </a:lnTo>
                  <a:lnTo>
                    <a:pt x="562" y="686"/>
                  </a:lnTo>
                  <a:lnTo>
                    <a:pt x="556" y="660"/>
                  </a:lnTo>
                  <a:lnTo>
                    <a:pt x="550" y="632"/>
                  </a:lnTo>
                  <a:lnTo>
                    <a:pt x="550" y="604"/>
                  </a:lnTo>
                  <a:lnTo>
                    <a:pt x="550" y="604"/>
                  </a:lnTo>
                  <a:lnTo>
                    <a:pt x="550" y="600"/>
                  </a:lnTo>
                  <a:lnTo>
                    <a:pt x="552" y="596"/>
                  </a:lnTo>
                  <a:lnTo>
                    <a:pt x="562" y="586"/>
                  </a:lnTo>
                  <a:lnTo>
                    <a:pt x="562" y="586"/>
                  </a:lnTo>
                  <a:lnTo>
                    <a:pt x="566" y="564"/>
                  </a:lnTo>
                  <a:lnTo>
                    <a:pt x="570" y="540"/>
                  </a:lnTo>
                  <a:lnTo>
                    <a:pt x="570" y="540"/>
                  </a:lnTo>
                  <a:lnTo>
                    <a:pt x="586" y="548"/>
                  </a:lnTo>
                  <a:lnTo>
                    <a:pt x="600" y="556"/>
                  </a:lnTo>
                  <a:lnTo>
                    <a:pt x="612" y="564"/>
                  </a:lnTo>
                  <a:lnTo>
                    <a:pt x="620" y="568"/>
                  </a:lnTo>
                  <a:lnTo>
                    <a:pt x="628" y="570"/>
                  </a:lnTo>
                  <a:lnTo>
                    <a:pt x="628" y="570"/>
                  </a:lnTo>
                  <a:lnTo>
                    <a:pt x="630" y="564"/>
                  </a:lnTo>
                  <a:lnTo>
                    <a:pt x="630" y="564"/>
                  </a:lnTo>
                  <a:lnTo>
                    <a:pt x="630" y="562"/>
                  </a:lnTo>
                  <a:lnTo>
                    <a:pt x="632" y="560"/>
                  </a:lnTo>
                  <a:lnTo>
                    <a:pt x="636" y="554"/>
                  </a:lnTo>
                  <a:lnTo>
                    <a:pt x="636" y="554"/>
                  </a:lnTo>
                  <a:lnTo>
                    <a:pt x="650" y="562"/>
                  </a:lnTo>
                  <a:lnTo>
                    <a:pt x="658" y="566"/>
                  </a:lnTo>
                  <a:lnTo>
                    <a:pt x="666" y="566"/>
                  </a:lnTo>
                  <a:lnTo>
                    <a:pt x="682" y="578"/>
                  </a:lnTo>
                  <a:lnTo>
                    <a:pt x="682" y="578"/>
                  </a:lnTo>
                  <a:lnTo>
                    <a:pt x="686" y="588"/>
                  </a:lnTo>
                  <a:lnTo>
                    <a:pt x="688" y="594"/>
                  </a:lnTo>
                  <a:lnTo>
                    <a:pt x="690" y="594"/>
                  </a:lnTo>
                  <a:lnTo>
                    <a:pt x="690" y="594"/>
                  </a:lnTo>
                  <a:lnTo>
                    <a:pt x="702" y="576"/>
                  </a:lnTo>
                  <a:lnTo>
                    <a:pt x="700" y="540"/>
                  </a:lnTo>
                  <a:lnTo>
                    <a:pt x="678" y="520"/>
                  </a:lnTo>
                  <a:lnTo>
                    <a:pt x="678" y="520"/>
                  </a:lnTo>
                  <a:lnTo>
                    <a:pt x="652" y="512"/>
                  </a:lnTo>
                  <a:lnTo>
                    <a:pt x="652" y="512"/>
                  </a:lnTo>
                  <a:lnTo>
                    <a:pt x="652" y="508"/>
                  </a:lnTo>
                  <a:lnTo>
                    <a:pt x="650" y="506"/>
                  </a:lnTo>
                  <a:lnTo>
                    <a:pt x="650" y="506"/>
                  </a:lnTo>
                  <a:lnTo>
                    <a:pt x="632" y="498"/>
                  </a:lnTo>
                  <a:lnTo>
                    <a:pt x="614" y="490"/>
                  </a:lnTo>
                  <a:lnTo>
                    <a:pt x="580" y="476"/>
                  </a:lnTo>
                  <a:lnTo>
                    <a:pt x="580" y="476"/>
                  </a:lnTo>
                  <a:lnTo>
                    <a:pt x="580" y="424"/>
                  </a:lnTo>
                  <a:lnTo>
                    <a:pt x="578" y="400"/>
                  </a:lnTo>
                  <a:lnTo>
                    <a:pt x="574" y="380"/>
                  </a:lnTo>
                  <a:lnTo>
                    <a:pt x="568" y="360"/>
                  </a:lnTo>
                  <a:lnTo>
                    <a:pt x="558" y="340"/>
                  </a:lnTo>
                  <a:lnTo>
                    <a:pt x="544" y="320"/>
                  </a:lnTo>
                  <a:lnTo>
                    <a:pt x="526" y="298"/>
                  </a:lnTo>
                  <a:lnTo>
                    <a:pt x="526" y="298"/>
                  </a:lnTo>
                  <a:lnTo>
                    <a:pt x="502" y="250"/>
                  </a:lnTo>
                  <a:lnTo>
                    <a:pt x="488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78" y="188"/>
                  </a:lnTo>
                  <a:lnTo>
                    <a:pt x="478" y="188"/>
                  </a:lnTo>
                  <a:lnTo>
                    <a:pt x="478" y="184"/>
                  </a:lnTo>
                  <a:lnTo>
                    <a:pt x="478" y="184"/>
                  </a:lnTo>
                  <a:lnTo>
                    <a:pt x="488" y="188"/>
                  </a:lnTo>
                  <a:lnTo>
                    <a:pt x="488" y="188"/>
                  </a:lnTo>
                  <a:lnTo>
                    <a:pt x="502" y="190"/>
                  </a:lnTo>
                  <a:lnTo>
                    <a:pt x="504" y="190"/>
                  </a:lnTo>
                  <a:lnTo>
                    <a:pt x="506" y="188"/>
                  </a:lnTo>
                  <a:lnTo>
                    <a:pt x="506" y="188"/>
                  </a:lnTo>
                  <a:lnTo>
                    <a:pt x="508" y="186"/>
                  </a:lnTo>
                  <a:lnTo>
                    <a:pt x="508" y="180"/>
                  </a:lnTo>
                  <a:lnTo>
                    <a:pt x="508" y="180"/>
                  </a:lnTo>
                  <a:lnTo>
                    <a:pt x="510" y="176"/>
                  </a:lnTo>
                  <a:lnTo>
                    <a:pt x="514" y="172"/>
                  </a:lnTo>
                  <a:lnTo>
                    <a:pt x="514" y="172"/>
                  </a:lnTo>
                  <a:lnTo>
                    <a:pt x="518" y="170"/>
                  </a:lnTo>
                  <a:lnTo>
                    <a:pt x="518" y="166"/>
                  </a:lnTo>
                  <a:lnTo>
                    <a:pt x="518" y="166"/>
                  </a:lnTo>
                  <a:lnTo>
                    <a:pt x="518" y="162"/>
                  </a:lnTo>
                  <a:lnTo>
                    <a:pt x="520" y="160"/>
                  </a:lnTo>
                  <a:lnTo>
                    <a:pt x="520" y="160"/>
                  </a:lnTo>
                  <a:lnTo>
                    <a:pt x="522" y="160"/>
                  </a:lnTo>
                  <a:lnTo>
                    <a:pt x="522" y="158"/>
                  </a:lnTo>
                  <a:lnTo>
                    <a:pt x="522" y="152"/>
                  </a:lnTo>
                  <a:lnTo>
                    <a:pt x="522" y="152"/>
                  </a:lnTo>
                  <a:lnTo>
                    <a:pt x="522" y="150"/>
                  </a:lnTo>
                  <a:lnTo>
                    <a:pt x="526" y="146"/>
                  </a:lnTo>
                  <a:lnTo>
                    <a:pt x="534" y="142"/>
                  </a:lnTo>
                  <a:lnTo>
                    <a:pt x="534" y="142"/>
                  </a:lnTo>
                  <a:lnTo>
                    <a:pt x="536" y="140"/>
                  </a:lnTo>
                  <a:lnTo>
                    <a:pt x="536" y="138"/>
                  </a:lnTo>
                  <a:lnTo>
                    <a:pt x="534" y="130"/>
                  </a:lnTo>
                  <a:lnTo>
                    <a:pt x="526" y="116"/>
                  </a:lnTo>
                  <a:lnTo>
                    <a:pt x="526" y="116"/>
                  </a:lnTo>
                  <a:lnTo>
                    <a:pt x="526" y="112"/>
                  </a:lnTo>
                  <a:lnTo>
                    <a:pt x="526" y="106"/>
                  </a:lnTo>
                  <a:lnTo>
                    <a:pt x="528" y="92"/>
                  </a:lnTo>
                  <a:lnTo>
                    <a:pt x="528" y="92"/>
                  </a:lnTo>
                  <a:lnTo>
                    <a:pt x="528" y="80"/>
                  </a:lnTo>
                  <a:lnTo>
                    <a:pt x="524" y="66"/>
                  </a:lnTo>
                  <a:lnTo>
                    <a:pt x="518" y="52"/>
                  </a:lnTo>
                  <a:lnTo>
                    <a:pt x="514" y="44"/>
                  </a:lnTo>
                  <a:lnTo>
                    <a:pt x="514" y="44"/>
                  </a:lnTo>
                  <a:lnTo>
                    <a:pt x="510" y="36"/>
                  </a:lnTo>
                  <a:lnTo>
                    <a:pt x="510" y="36"/>
                  </a:lnTo>
                  <a:lnTo>
                    <a:pt x="508" y="34"/>
                  </a:lnTo>
                  <a:lnTo>
                    <a:pt x="504" y="30"/>
                  </a:lnTo>
                  <a:lnTo>
                    <a:pt x="504" y="30"/>
                  </a:lnTo>
                  <a:lnTo>
                    <a:pt x="504" y="28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498" y="24"/>
                  </a:lnTo>
                  <a:lnTo>
                    <a:pt x="498" y="24"/>
                  </a:lnTo>
                  <a:lnTo>
                    <a:pt x="486" y="16"/>
                  </a:lnTo>
                  <a:lnTo>
                    <a:pt x="474" y="8"/>
                  </a:lnTo>
                  <a:lnTo>
                    <a:pt x="474" y="8"/>
                  </a:lnTo>
                  <a:lnTo>
                    <a:pt x="458" y="2"/>
                  </a:lnTo>
                  <a:lnTo>
                    <a:pt x="458" y="2"/>
                  </a:lnTo>
                  <a:lnTo>
                    <a:pt x="448" y="0"/>
                  </a:lnTo>
                  <a:lnTo>
                    <a:pt x="436" y="0"/>
                  </a:lnTo>
                  <a:lnTo>
                    <a:pt x="436" y="0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16" y="4"/>
                  </a:lnTo>
                  <a:lnTo>
                    <a:pt x="410" y="8"/>
                  </a:lnTo>
                  <a:lnTo>
                    <a:pt x="410" y="8"/>
                  </a:lnTo>
                  <a:lnTo>
                    <a:pt x="404" y="10"/>
                  </a:lnTo>
                  <a:lnTo>
                    <a:pt x="400" y="14"/>
                  </a:lnTo>
                  <a:lnTo>
                    <a:pt x="396" y="16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0" y="20"/>
                  </a:lnTo>
                  <a:lnTo>
                    <a:pt x="388" y="26"/>
                  </a:lnTo>
                  <a:lnTo>
                    <a:pt x="388" y="26"/>
                  </a:lnTo>
                  <a:lnTo>
                    <a:pt x="382" y="28"/>
                  </a:lnTo>
                  <a:lnTo>
                    <a:pt x="380" y="34"/>
                  </a:lnTo>
                  <a:lnTo>
                    <a:pt x="380" y="34"/>
                  </a:lnTo>
                  <a:lnTo>
                    <a:pt x="374" y="36"/>
                  </a:lnTo>
                  <a:lnTo>
                    <a:pt x="360" y="46"/>
                  </a:lnTo>
                  <a:lnTo>
                    <a:pt x="354" y="52"/>
                  </a:lnTo>
                  <a:lnTo>
                    <a:pt x="348" y="60"/>
                  </a:lnTo>
                  <a:lnTo>
                    <a:pt x="344" y="70"/>
                  </a:lnTo>
                  <a:lnTo>
                    <a:pt x="346" y="80"/>
                  </a:lnTo>
                  <a:lnTo>
                    <a:pt x="346" y="80"/>
                  </a:lnTo>
                  <a:lnTo>
                    <a:pt x="346" y="82"/>
                  </a:lnTo>
                  <a:lnTo>
                    <a:pt x="346" y="82"/>
                  </a:lnTo>
                  <a:lnTo>
                    <a:pt x="346" y="82"/>
                  </a:lnTo>
                  <a:lnTo>
                    <a:pt x="348" y="92"/>
                  </a:lnTo>
                  <a:lnTo>
                    <a:pt x="348" y="100"/>
                  </a:lnTo>
                  <a:lnTo>
                    <a:pt x="346" y="106"/>
                  </a:lnTo>
                  <a:lnTo>
                    <a:pt x="346" y="106"/>
                  </a:lnTo>
                  <a:lnTo>
                    <a:pt x="330" y="120"/>
                  </a:lnTo>
                  <a:lnTo>
                    <a:pt x="318" y="134"/>
                  </a:lnTo>
                  <a:lnTo>
                    <a:pt x="314" y="140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24" y="130"/>
                  </a:lnTo>
                  <a:lnTo>
                    <a:pt x="334" y="120"/>
                  </a:lnTo>
                  <a:lnTo>
                    <a:pt x="340" y="118"/>
                  </a:lnTo>
                  <a:lnTo>
                    <a:pt x="344" y="116"/>
                  </a:lnTo>
                  <a:lnTo>
                    <a:pt x="344" y="116"/>
                  </a:lnTo>
                  <a:lnTo>
                    <a:pt x="336" y="130"/>
                  </a:lnTo>
                  <a:lnTo>
                    <a:pt x="332" y="140"/>
                  </a:lnTo>
                  <a:lnTo>
                    <a:pt x="332" y="144"/>
                  </a:lnTo>
                  <a:lnTo>
                    <a:pt x="332" y="148"/>
                  </a:lnTo>
                  <a:lnTo>
                    <a:pt x="332" y="148"/>
                  </a:lnTo>
                  <a:lnTo>
                    <a:pt x="328" y="164"/>
                  </a:lnTo>
                  <a:lnTo>
                    <a:pt x="324" y="178"/>
                  </a:lnTo>
                  <a:lnTo>
                    <a:pt x="326" y="184"/>
                  </a:lnTo>
                  <a:lnTo>
                    <a:pt x="326" y="188"/>
                  </a:lnTo>
                  <a:lnTo>
                    <a:pt x="326" y="188"/>
                  </a:lnTo>
                  <a:lnTo>
                    <a:pt x="326" y="192"/>
                  </a:lnTo>
                  <a:lnTo>
                    <a:pt x="320" y="198"/>
                  </a:lnTo>
                  <a:lnTo>
                    <a:pt x="312" y="204"/>
                  </a:lnTo>
                  <a:lnTo>
                    <a:pt x="306" y="208"/>
                  </a:lnTo>
                  <a:lnTo>
                    <a:pt x="300" y="210"/>
                  </a:lnTo>
                  <a:lnTo>
                    <a:pt x="300" y="210"/>
                  </a:lnTo>
                  <a:lnTo>
                    <a:pt x="324" y="206"/>
                  </a:lnTo>
                  <a:lnTo>
                    <a:pt x="324" y="206"/>
                  </a:lnTo>
                  <a:lnTo>
                    <a:pt x="322" y="212"/>
                  </a:lnTo>
                  <a:lnTo>
                    <a:pt x="322" y="218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4" y="224"/>
                  </a:lnTo>
                  <a:lnTo>
                    <a:pt x="324" y="224"/>
                  </a:lnTo>
                  <a:lnTo>
                    <a:pt x="326" y="234"/>
                  </a:lnTo>
                  <a:lnTo>
                    <a:pt x="330" y="256"/>
                  </a:lnTo>
                  <a:lnTo>
                    <a:pt x="330" y="266"/>
                  </a:lnTo>
                  <a:lnTo>
                    <a:pt x="328" y="276"/>
                  </a:lnTo>
                  <a:lnTo>
                    <a:pt x="324" y="280"/>
                  </a:lnTo>
                  <a:lnTo>
                    <a:pt x="322" y="284"/>
                  </a:lnTo>
                  <a:lnTo>
                    <a:pt x="318" y="286"/>
                  </a:lnTo>
                  <a:lnTo>
                    <a:pt x="312" y="288"/>
                  </a:lnTo>
                  <a:lnTo>
                    <a:pt x="312" y="288"/>
                  </a:lnTo>
                  <a:lnTo>
                    <a:pt x="322" y="302"/>
                  </a:lnTo>
                  <a:lnTo>
                    <a:pt x="338" y="328"/>
                  </a:lnTo>
                  <a:lnTo>
                    <a:pt x="338" y="328"/>
                  </a:lnTo>
                  <a:lnTo>
                    <a:pt x="322" y="364"/>
                  </a:lnTo>
                  <a:lnTo>
                    <a:pt x="312" y="382"/>
                  </a:lnTo>
                  <a:lnTo>
                    <a:pt x="300" y="398"/>
                  </a:lnTo>
                  <a:lnTo>
                    <a:pt x="300" y="398"/>
                  </a:lnTo>
                  <a:lnTo>
                    <a:pt x="296" y="420"/>
                  </a:lnTo>
                  <a:lnTo>
                    <a:pt x="290" y="438"/>
                  </a:lnTo>
                  <a:lnTo>
                    <a:pt x="282" y="456"/>
                  </a:lnTo>
                  <a:lnTo>
                    <a:pt x="274" y="474"/>
                  </a:lnTo>
                  <a:lnTo>
                    <a:pt x="266" y="490"/>
                  </a:lnTo>
                  <a:lnTo>
                    <a:pt x="258" y="508"/>
                  </a:lnTo>
                  <a:lnTo>
                    <a:pt x="250" y="528"/>
                  </a:lnTo>
                  <a:lnTo>
                    <a:pt x="246" y="550"/>
                  </a:lnTo>
                  <a:lnTo>
                    <a:pt x="246" y="550"/>
                  </a:lnTo>
                  <a:lnTo>
                    <a:pt x="230" y="580"/>
                  </a:lnTo>
                  <a:lnTo>
                    <a:pt x="220" y="606"/>
                  </a:lnTo>
                  <a:lnTo>
                    <a:pt x="212" y="626"/>
                  </a:lnTo>
                  <a:lnTo>
                    <a:pt x="206" y="636"/>
                  </a:lnTo>
                  <a:lnTo>
                    <a:pt x="206" y="636"/>
                  </a:lnTo>
                  <a:lnTo>
                    <a:pt x="204" y="640"/>
                  </a:lnTo>
                  <a:lnTo>
                    <a:pt x="202" y="648"/>
                  </a:lnTo>
                  <a:lnTo>
                    <a:pt x="200" y="652"/>
                  </a:lnTo>
                  <a:lnTo>
                    <a:pt x="200" y="652"/>
                  </a:lnTo>
                  <a:lnTo>
                    <a:pt x="188" y="662"/>
                  </a:lnTo>
                  <a:lnTo>
                    <a:pt x="176" y="672"/>
                  </a:lnTo>
                  <a:lnTo>
                    <a:pt x="168" y="684"/>
                  </a:lnTo>
                  <a:lnTo>
                    <a:pt x="160" y="698"/>
                  </a:lnTo>
                  <a:lnTo>
                    <a:pt x="160" y="698"/>
                  </a:lnTo>
                  <a:lnTo>
                    <a:pt x="132" y="696"/>
                  </a:lnTo>
                  <a:lnTo>
                    <a:pt x="108" y="698"/>
                  </a:lnTo>
                  <a:lnTo>
                    <a:pt x="96" y="700"/>
                  </a:lnTo>
                  <a:lnTo>
                    <a:pt x="88" y="704"/>
                  </a:lnTo>
                  <a:lnTo>
                    <a:pt x="80" y="708"/>
                  </a:lnTo>
                  <a:lnTo>
                    <a:pt x="72" y="714"/>
                  </a:lnTo>
                  <a:lnTo>
                    <a:pt x="66" y="720"/>
                  </a:lnTo>
                  <a:lnTo>
                    <a:pt x="60" y="728"/>
                  </a:lnTo>
                  <a:lnTo>
                    <a:pt x="50" y="746"/>
                  </a:lnTo>
                  <a:lnTo>
                    <a:pt x="42" y="768"/>
                  </a:lnTo>
                  <a:lnTo>
                    <a:pt x="36" y="792"/>
                  </a:lnTo>
                  <a:lnTo>
                    <a:pt x="36" y="792"/>
                  </a:lnTo>
                  <a:lnTo>
                    <a:pt x="30" y="812"/>
                  </a:lnTo>
                  <a:lnTo>
                    <a:pt x="24" y="830"/>
                  </a:lnTo>
                  <a:lnTo>
                    <a:pt x="10" y="862"/>
                  </a:lnTo>
                  <a:lnTo>
                    <a:pt x="6" y="878"/>
                  </a:lnTo>
                  <a:lnTo>
                    <a:pt x="2" y="894"/>
                  </a:lnTo>
                  <a:lnTo>
                    <a:pt x="0" y="910"/>
                  </a:lnTo>
                  <a:lnTo>
                    <a:pt x="2" y="926"/>
                  </a:lnTo>
                  <a:lnTo>
                    <a:pt x="2" y="926"/>
                  </a:lnTo>
                  <a:lnTo>
                    <a:pt x="32" y="942"/>
                  </a:lnTo>
                  <a:lnTo>
                    <a:pt x="64" y="956"/>
                  </a:lnTo>
                  <a:lnTo>
                    <a:pt x="96" y="970"/>
                  </a:lnTo>
                  <a:lnTo>
                    <a:pt x="128" y="982"/>
                  </a:lnTo>
                  <a:lnTo>
                    <a:pt x="198" y="1004"/>
                  </a:lnTo>
                  <a:lnTo>
                    <a:pt x="268" y="1024"/>
                  </a:lnTo>
                  <a:lnTo>
                    <a:pt x="268" y="1024"/>
                  </a:lnTo>
                  <a:lnTo>
                    <a:pt x="270" y="1026"/>
                  </a:lnTo>
                  <a:lnTo>
                    <a:pt x="270" y="1028"/>
                  </a:lnTo>
                  <a:lnTo>
                    <a:pt x="268" y="1038"/>
                  </a:lnTo>
                  <a:lnTo>
                    <a:pt x="268" y="1038"/>
                  </a:lnTo>
                  <a:close/>
                  <a:moveTo>
                    <a:pt x="258" y="668"/>
                  </a:moveTo>
                  <a:lnTo>
                    <a:pt x="258" y="668"/>
                  </a:lnTo>
                  <a:lnTo>
                    <a:pt x="258" y="662"/>
                  </a:lnTo>
                  <a:lnTo>
                    <a:pt x="258" y="662"/>
                  </a:lnTo>
                  <a:lnTo>
                    <a:pt x="262" y="660"/>
                  </a:lnTo>
                  <a:lnTo>
                    <a:pt x="264" y="658"/>
                  </a:lnTo>
                  <a:lnTo>
                    <a:pt x="266" y="654"/>
                  </a:lnTo>
                  <a:lnTo>
                    <a:pt x="264" y="650"/>
                  </a:lnTo>
                  <a:lnTo>
                    <a:pt x="264" y="650"/>
                  </a:lnTo>
                  <a:lnTo>
                    <a:pt x="266" y="640"/>
                  </a:lnTo>
                  <a:lnTo>
                    <a:pt x="268" y="638"/>
                  </a:lnTo>
                  <a:lnTo>
                    <a:pt x="268" y="638"/>
                  </a:lnTo>
                  <a:lnTo>
                    <a:pt x="274" y="640"/>
                  </a:lnTo>
                  <a:lnTo>
                    <a:pt x="282" y="640"/>
                  </a:lnTo>
                  <a:lnTo>
                    <a:pt x="282" y="640"/>
                  </a:lnTo>
                  <a:lnTo>
                    <a:pt x="284" y="630"/>
                  </a:lnTo>
                  <a:lnTo>
                    <a:pt x="286" y="622"/>
                  </a:lnTo>
                  <a:lnTo>
                    <a:pt x="294" y="606"/>
                  </a:lnTo>
                  <a:lnTo>
                    <a:pt x="302" y="590"/>
                  </a:lnTo>
                  <a:lnTo>
                    <a:pt x="310" y="574"/>
                  </a:lnTo>
                  <a:lnTo>
                    <a:pt x="310" y="574"/>
                  </a:lnTo>
                  <a:lnTo>
                    <a:pt x="346" y="576"/>
                  </a:lnTo>
                  <a:lnTo>
                    <a:pt x="360" y="578"/>
                  </a:lnTo>
                  <a:lnTo>
                    <a:pt x="364" y="578"/>
                  </a:lnTo>
                  <a:lnTo>
                    <a:pt x="364" y="580"/>
                  </a:lnTo>
                  <a:lnTo>
                    <a:pt x="364" y="580"/>
                  </a:lnTo>
                  <a:lnTo>
                    <a:pt x="364" y="602"/>
                  </a:lnTo>
                  <a:lnTo>
                    <a:pt x="362" y="616"/>
                  </a:lnTo>
                  <a:lnTo>
                    <a:pt x="360" y="626"/>
                  </a:lnTo>
                  <a:lnTo>
                    <a:pt x="356" y="638"/>
                  </a:lnTo>
                  <a:lnTo>
                    <a:pt x="356" y="638"/>
                  </a:lnTo>
                  <a:lnTo>
                    <a:pt x="348" y="654"/>
                  </a:lnTo>
                  <a:lnTo>
                    <a:pt x="344" y="670"/>
                  </a:lnTo>
                  <a:lnTo>
                    <a:pt x="340" y="688"/>
                  </a:lnTo>
                  <a:lnTo>
                    <a:pt x="338" y="708"/>
                  </a:lnTo>
                  <a:lnTo>
                    <a:pt x="336" y="744"/>
                  </a:lnTo>
                  <a:lnTo>
                    <a:pt x="336" y="774"/>
                  </a:lnTo>
                  <a:lnTo>
                    <a:pt x="336" y="774"/>
                  </a:lnTo>
                  <a:lnTo>
                    <a:pt x="336" y="776"/>
                  </a:lnTo>
                  <a:lnTo>
                    <a:pt x="332" y="776"/>
                  </a:lnTo>
                  <a:lnTo>
                    <a:pt x="318" y="768"/>
                  </a:lnTo>
                  <a:lnTo>
                    <a:pt x="302" y="756"/>
                  </a:lnTo>
                  <a:lnTo>
                    <a:pt x="288" y="744"/>
                  </a:lnTo>
                  <a:lnTo>
                    <a:pt x="288" y="744"/>
                  </a:lnTo>
                  <a:lnTo>
                    <a:pt x="282" y="718"/>
                  </a:lnTo>
                  <a:lnTo>
                    <a:pt x="276" y="698"/>
                  </a:lnTo>
                  <a:lnTo>
                    <a:pt x="268" y="684"/>
                  </a:lnTo>
                  <a:lnTo>
                    <a:pt x="258" y="668"/>
                  </a:lnTo>
                  <a:lnTo>
                    <a:pt x="258" y="6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1" name="Freeform 122"/>
            <p:cNvSpPr>
              <a:spLocks/>
            </p:cNvSpPr>
            <p:nvPr/>
          </p:nvSpPr>
          <p:spPr bwMode="auto">
            <a:xfrm>
              <a:off x="3924394" y="3924647"/>
              <a:ext cx="7027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2" name="Freeform 123"/>
            <p:cNvSpPr>
              <a:spLocks/>
            </p:cNvSpPr>
            <p:nvPr/>
          </p:nvSpPr>
          <p:spPr bwMode="auto">
            <a:xfrm>
              <a:off x="3971241" y="4561373"/>
              <a:ext cx="32793" cy="100722"/>
            </a:xfrm>
            <a:custGeom>
              <a:avLst/>
              <a:gdLst>
                <a:gd name="T0" fmla="*/ 22 w 28"/>
                <a:gd name="T1" fmla="*/ 16 h 86"/>
                <a:gd name="T2" fmla="*/ 22 w 28"/>
                <a:gd name="T3" fmla="*/ 16 h 86"/>
                <a:gd name="T4" fmla="*/ 20 w 28"/>
                <a:gd name="T5" fmla="*/ 32 h 86"/>
                <a:gd name="T6" fmla="*/ 18 w 28"/>
                <a:gd name="T7" fmla="*/ 42 h 86"/>
                <a:gd name="T8" fmla="*/ 12 w 28"/>
                <a:gd name="T9" fmla="*/ 50 h 86"/>
                <a:gd name="T10" fmla="*/ 6 w 28"/>
                <a:gd name="T11" fmla="*/ 66 h 86"/>
                <a:gd name="T12" fmla="*/ 6 w 28"/>
                <a:gd name="T13" fmla="*/ 66 h 86"/>
                <a:gd name="T14" fmla="*/ 0 w 28"/>
                <a:gd name="T15" fmla="*/ 82 h 86"/>
                <a:gd name="T16" fmla="*/ 0 w 28"/>
                <a:gd name="T17" fmla="*/ 86 h 86"/>
                <a:gd name="T18" fmla="*/ 0 w 28"/>
                <a:gd name="T19" fmla="*/ 86 h 86"/>
                <a:gd name="T20" fmla="*/ 8 w 28"/>
                <a:gd name="T21" fmla="*/ 76 h 86"/>
                <a:gd name="T22" fmla="*/ 8 w 28"/>
                <a:gd name="T23" fmla="*/ 76 h 86"/>
                <a:gd name="T24" fmla="*/ 16 w 28"/>
                <a:gd name="T25" fmla="*/ 58 h 86"/>
                <a:gd name="T26" fmla="*/ 24 w 28"/>
                <a:gd name="T27" fmla="*/ 34 h 86"/>
                <a:gd name="T28" fmla="*/ 28 w 28"/>
                <a:gd name="T29" fmla="*/ 10 h 86"/>
                <a:gd name="T30" fmla="*/ 28 w 28"/>
                <a:gd name="T31" fmla="*/ 4 h 86"/>
                <a:gd name="T32" fmla="*/ 26 w 28"/>
                <a:gd name="T33" fmla="*/ 2 h 86"/>
                <a:gd name="T34" fmla="*/ 24 w 28"/>
                <a:gd name="T35" fmla="*/ 0 h 86"/>
                <a:gd name="T36" fmla="*/ 24 w 28"/>
                <a:gd name="T37" fmla="*/ 0 h 86"/>
                <a:gd name="T38" fmla="*/ 18 w 28"/>
                <a:gd name="T39" fmla="*/ 0 h 86"/>
                <a:gd name="T40" fmla="*/ 16 w 28"/>
                <a:gd name="T41" fmla="*/ 0 h 86"/>
                <a:gd name="T42" fmla="*/ 16 w 28"/>
                <a:gd name="T43" fmla="*/ 2 h 86"/>
                <a:gd name="T44" fmla="*/ 20 w 28"/>
                <a:gd name="T45" fmla="*/ 8 h 86"/>
                <a:gd name="T46" fmla="*/ 22 w 28"/>
                <a:gd name="T47" fmla="*/ 16 h 86"/>
                <a:gd name="T48" fmla="*/ 22 w 28"/>
                <a:gd name="T49" fmla="*/ 1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" h="86">
                  <a:moveTo>
                    <a:pt x="22" y="16"/>
                  </a:moveTo>
                  <a:lnTo>
                    <a:pt x="22" y="16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2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6" y="58"/>
                  </a:lnTo>
                  <a:lnTo>
                    <a:pt x="24" y="34"/>
                  </a:lnTo>
                  <a:lnTo>
                    <a:pt x="28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20" y="8"/>
                  </a:lnTo>
                  <a:lnTo>
                    <a:pt x="22" y="16"/>
                  </a:lnTo>
                  <a:lnTo>
                    <a:pt x="22" y="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3" name="Freeform 124"/>
            <p:cNvSpPr>
              <a:spLocks/>
            </p:cNvSpPr>
            <p:nvPr/>
          </p:nvSpPr>
          <p:spPr bwMode="auto">
            <a:xfrm>
              <a:off x="3800248" y="4373984"/>
              <a:ext cx="84325" cy="77298"/>
            </a:xfrm>
            <a:custGeom>
              <a:avLst/>
              <a:gdLst>
                <a:gd name="T0" fmla="*/ 4 w 72"/>
                <a:gd name="T1" fmla="*/ 44 h 66"/>
                <a:gd name="T2" fmla="*/ 4 w 72"/>
                <a:gd name="T3" fmla="*/ 44 h 66"/>
                <a:gd name="T4" fmla="*/ 12 w 72"/>
                <a:gd name="T5" fmla="*/ 48 h 66"/>
                <a:gd name="T6" fmla="*/ 24 w 72"/>
                <a:gd name="T7" fmla="*/ 56 h 66"/>
                <a:gd name="T8" fmla="*/ 40 w 72"/>
                <a:gd name="T9" fmla="*/ 62 h 66"/>
                <a:gd name="T10" fmla="*/ 60 w 72"/>
                <a:gd name="T11" fmla="*/ 66 h 66"/>
                <a:gd name="T12" fmla="*/ 60 w 72"/>
                <a:gd name="T13" fmla="*/ 66 h 66"/>
                <a:gd name="T14" fmla="*/ 66 w 72"/>
                <a:gd name="T15" fmla="*/ 62 h 66"/>
                <a:gd name="T16" fmla="*/ 70 w 72"/>
                <a:gd name="T17" fmla="*/ 52 h 66"/>
                <a:gd name="T18" fmla="*/ 72 w 72"/>
                <a:gd name="T19" fmla="*/ 46 h 66"/>
                <a:gd name="T20" fmla="*/ 72 w 72"/>
                <a:gd name="T21" fmla="*/ 38 h 66"/>
                <a:gd name="T22" fmla="*/ 70 w 72"/>
                <a:gd name="T23" fmla="*/ 32 h 66"/>
                <a:gd name="T24" fmla="*/ 64 w 72"/>
                <a:gd name="T25" fmla="*/ 24 h 66"/>
                <a:gd name="T26" fmla="*/ 64 w 72"/>
                <a:gd name="T27" fmla="*/ 24 h 66"/>
                <a:gd name="T28" fmla="*/ 60 w 72"/>
                <a:gd name="T29" fmla="*/ 22 h 66"/>
                <a:gd name="T30" fmla="*/ 52 w 72"/>
                <a:gd name="T31" fmla="*/ 24 h 66"/>
                <a:gd name="T32" fmla="*/ 44 w 72"/>
                <a:gd name="T33" fmla="*/ 22 h 66"/>
                <a:gd name="T34" fmla="*/ 38 w 72"/>
                <a:gd name="T35" fmla="*/ 20 h 66"/>
                <a:gd name="T36" fmla="*/ 32 w 72"/>
                <a:gd name="T37" fmla="*/ 18 h 66"/>
                <a:gd name="T38" fmla="*/ 32 w 72"/>
                <a:gd name="T39" fmla="*/ 18 h 66"/>
                <a:gd name="T40" fmla="*/ 22 w 72"/>
                <a:gd name="T41" fmla="*/ 10 h 66"/>
                <a:gd name="T42" fmla="*/ 16 w 72"/>
                <a:gd name="T43" fmla="*/ 4 h 66"/>
                <a:gd name="T44" fmla="*/ 12 w 72"/>
                <a:gd name="T45" fmla="*/ 0 h 66"/>
                <a:gd name="T46" fmla="*/ 10 w 72"/>
                <a:gd name="T47" fmla="*/ 0 h 66"/>
                <a:gd name="T48" fmla="*/ 8 w 72"/>
                <a:gd name="T49" fmla="*/ 2 h 66"/>
                <a:gd name="T50" fmla="*/ 8 w 72"/>
                <a:gd name="T51" fmla="*/ 2 h 66"/>
                <a:gd name="T52" fmla="*/ 4 w 72"/>
                <a:gd name="T53" fmla="*/ 14 h 66"/>
                <a:gd name="T54" fmla="*/ 0 w 72"/>
                <a:gd name="T55" fmla="*/ 26 h 66"/>
                <a:gd name="T56" fmla="*/ 0 w 72"/>
                <a:gd name="T57" fmla="*/ 36 h 66"/>
                <a:gd name="T58" fmla="*/ 2 w 72"/>
                <a:gd name="T59" fmla="*/ 40 h 66"/>
                <a:gd name="T60" fmla="*/ 4 w 72"/>
                <a:gd name="T61" fmla="*/ 44 h 66"/>
                <a:gd name="T62" fmla="*/ 4 w 72"/>
                <a:gd name="T63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66">
                  <a:moveTo>
                    <a:pt x="4" y="44"/>
                  </a:moveTo>
                  <a:lnTo>
                    <a:pt x="4" y="44"/>
                  </a:lnTo>
                  <a:lnTo>
                    <a:pt x="12" y="48"/>
                  </a:lnTo>
                  <a:lnTo>
                    <a:pt x="24" y="56"/>
                  </a:lnTo>
                  <a:lnTo>
                    <a:pt x="40" y="62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6" y="62"/>
                  </a:lnTo>
                  <a:lnTo>
                    <a:pt x="70" y="52"/>
                  </a:lnTo>
                  <a:lnTo>
                    <a:pt x="72" y="46"/>
                  </a:lnTo>
                  <a:lnTo>
                    <a:pt x="72" y="38"/>
                  </a:lnTo>
                  <a:lnTo>
                    <a:pt x="70" y="3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2"/>
                  </a:lnTo>
                  <a:lnTo>
                    <a:pt x="52" y="24"/>
                  </a:lnTo>
                  <a:lnTo>
                    <a:pt x="44" y="22"/>
                  </a:lnTo>
                  <a:lnTo>
                    <a:pt x="38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22" y="10"/>
                  </a:lnTo>
                  <a:lnTo>
                    <a:pt x="16" y="4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4" y="14"/>
                  </a:lnTo>
                  <a:lnTo>
                    <a:pt x="0" y="26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sp>
          <p:nvSpPr>
            <p:cNvPr id="944" name="Freeform 125"/>
            <p:cNvSpPr>
              <a:spLocks/>
            </p:cNvSpPr>
            <p:nvPr/>
          </p:nvSpPr>
          <p:spPr bwMode="auto">
            <a:xfrm>
              <a:off x="4048539" y="3788390"/>
              <a:ext cx="145227" cy="213156"/>
            </a:xfrm>
            <a:custGeom>
              <a:avLst/>
              <a:gdLst>
                <a:gd name="T0" fmla="*/ 104 w 124"/>
                <a:gd name="T1" fmla="*/ 54 h 182"/>
                <a:gd name="T2" fmla="*/ 104 w 124"/>
                <a:gd name="T3" fmla="*/ 54 h 182"/>
                <a:gd name="T4" fmla="*/ 104 w 124"/>
                <a:gd name="T5" fmla="*/ 56 h 182"/>
                <a:gd name="T6" fmla="*/ 102 w 124"/>
                <a:gd name="T7" fmla="*/ 60 h 182"/>
                <a:gd name="T8" fmla="*/ 98 w 124"/>
                <a:gd name="T9" fmla="*/ 68 h 182"/>
                <a:gd name="T10" fmla="*/ 96 w 124"/>
                <a:gd name="T11" fmla="*/ 72 h 182"/>
                <a:gd name="T12" fmla="*/ 94 w 124"/>
                <a:gd name="T13" fmla="*/ 78 h 182"/>
                <a:gd name="T14" fmla="*/ 94 w 124"/>
                <a:gd name="T15" fmla="*/ 82 h 182"/>
                <a:gd name="T16" fmla="*/ 98 w 124"/>
                <a:gd name="T17" fmla="*/ 88 h 182"/>
                <a:gd name="T18" fmla="*/ 98 w 124"/>
                <a:gd name="T19" fmla="*/ 88 h 182"/>
                <a:gd name="T20" fmla="*/ 106 w 124"/>
                <a:gd name="T21" fmla="*/ 102 h 182"/>
                <a:gd name="T22" fmla="*/ 112 w 124"/>
                <a:gd name="T23" fmla="*/ 114 h 182"/>
                <a:gd name="T24" fmla="*/ 114 w 124"/>
                <a:gd name="T25" fmla="*/ 124 h 182"/>
                <a:gd name="T26" fmla="*/ 116 w 124"/>
                <a:gd name="T27" fmla="*/ 136 h 182"/>
                <a:gd name="T28" fmla="*/ 116 w 124"/>
                <a:gd name="T29" fmla="*/ 136 h 182"/>
                <a:gd name="T30" fmla="*/ 124 w 124"/>
                <a:gd name="T31" fmla="*/ 182 h 182"/>
                <a:gd name="T32" fmla="*/ 120 w 124"/>
                <a:gd name="T33" fmla="*/ 178 h 182"/>
                <a:gd name="T34" fmla="*/ 116 w 124"/>
                <a:gd name="T35" fmla="*/ 166 h 182"/>
                <a:gd name="T36" fmla="*/ 116 w 124"/>
                <a:gd name="T37" fmla="*/ 166 h 182"/>
                <a:gd name="T38" fmla="*/ 106 w 124"/>
                <a:gd name="T39" fmla="*/ 144 h 182"/>
                <a:gd name="T40" fmla="*/ 102 w 124"/>
                <a:gd name="T41" fmla="*/ 130 h 182"/>
                <a:gd name="T42" fmla="*/ 98 w 124"/>
                <a:gd name="T43" fmla="*/ 118 h 182"/>
                <a:gd name="T44" fmla="*/ 96 w 124"/>
                <a:gd name="T45" fmla="*/ 112 h 182"/>
                <a:gd name="T46" fmla="*/ 90 w 124"/>
                <a:gd name="T47" fmla="*/ 104 h 182"/>
                <a:gd name="T48" fmla="*/ 90 w 124"/>
                <a:gd name="T49" fmla="*/ 104 h 182"/>
                <a:gd name="T50" fmla="*/ 52 w 124"/>
                <a:gd name="T51" fmla="*/ 54 h 182"/>
                <a:gd name="T52" fmla="*/ 38 w 124"/>
                <a:gd name="T53" fmla="*/ 36 h 182"/>
                <a:gd name="T54" fmla="*/ 24 w 124"/>
                <a:gd name="T55" fmla="*/ 24 h 182"/>
                <a:gd name="T56" fmla="*/ 24 w 124"/>
                <a:gd name="T57" fmla="*/ 24 h 182"/>
                <a:gd name="T58" fmla="*/ 2 w 124"/>
                <a:gd name="T59" fmla="*/ 4 h 182"/>
                <a:gd name="T60" fmla="*/ 0 w 124"/>
                <a:gd name="T61" fmla="*/ 0 h 182"/>
                <a:gd name="T62" fmla="*/ 0 w 124"/>
                <a:gd name="T63" fmla="*/ 0 h 182"/>
                <a:gd name="T64" fmla="*/ 0 w 124"/>
                <a:gd name="T65" fmla="*/ 0 h 182"/>
                <a:gd name="T66" fmla="*/ 14 w 124"/>
                <a:gd name="T67" fmla="*/ 6 h 182"/>
                <a:gd name="T68" fmla="*/ 38 w 124"/>
                <a:gd name="T69" fmla="*/ 20 h 182"/>
                <a:gd name="T70" fmla="*/ 38 w 124"/>
                <a:gd name="T71" fmla="*/ 20 h 182"/>
                <a:gd name="T72" fmla="*/ 48 w 124"/>
                <a:gd name="T73" fmla="*/ 24 h 182"/>
                <a:gd name="T74" fmla="*/ 58 w 124"/>
                <a:gd name="T75" fmla="*/ 28 h 182"/>
                <a:gd name="T76" fmla="*/ 80 w 124"/>
                <a:gd name="T77" fmla="*/ 36 h 182"/>
                <a:gd name="T78" fmla="*/ 88 w 124"/>
                <a:gd name="T79" fmla="*/ 38 h 182"/>
                <a:gd name="T80" fmla="*/ 96 w 124"/>
                <a:gd name="T81" fmla="*/ 42 h 182"/>
                <a:gd name="T82" fmla="*/ 100 w 124"/>
                <a:gd name="T83" fmla="*/ 48 h 182"/>
                <a:gd name="T84" fmla="*/ 104 w 124"/>
                <a:gd name="T85" fmla="*/ 54 h 182"/>
                <a:gd name="T86" fmla="*/ 104 w 124"/>
                <a:gd name="T87" fmla="*/ 5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" h="182">
                  <a:moveTo>
                    <a:pt x="104" y="54"/>
                  </a:moveTo>
                  <a:lnTo>
                    <a:pt x="104" y="54"/>
                  </a:lnTo>
                  <a:lnTo>
                    <a:pt x="104" y="56"/>
                  </a:lnTo>
                  <a:lnTo>
                    <a:pt x="102" y="60"/>
                  </a:lnTo>
                  <a:lnTo>
                    <a:pt x="98" y="68"/>
                  </a:lnTo>
                  <a:lnTo>
                    <a:pt x="96" y="72"/>
                  </a:lnTo>
                  <a:lnTo>
                    <a:pt x="94" y="78"/>
                  </a:lnTo>
                  <a:lnTo>
                    <a:pt x="94" y="82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6" y="102"/>
                  </a:lnTo>
                  <a:lnTo>
                    <a:pt x="112" y="114"/>
                  </a:lnTo>
                  <a:lnTo>
                    <a:pt x="114" y="124"/>
                  </a:lnTo>
                  <a:lnTo>
                    <a:pt x="116" y="136"/>
                  </a:lnTo>
                  <a:lnTo>
                    <a:pt x="116" y="136"/>
                  </a:lnTo>
                  <a:lnTo>
                    <a:pt x="124" y="182"/>
                  </a:lnTo>
                  <a:lnTo>
                    <a:pt x="120" y="178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06" y="144"/>
                  </a:lnTo>
                  <a:lnTo>
                    <a:pt x="102" y="130"/>
                  </a:lnTo>
                  <a:lnTo>
                    <a:pt x="98" y="118"/>
                  </a:lnTo>
                  <a:lnTo>
                    <a:pt x="96" y="11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52" y="54"/>
                  </a:lnTo>
                  <a:lnTo>
                    <a:pt x="38" y="3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" y="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8" y="24"/>
                  </a:lnTo>
                  <a:lnTo>
                    <a:pt x="58" y="28"/>
                  </a:lnTo>
                  <a:lnTo>
                    <a:pt x="80" y="36"/>
                  </a:lnTo>
                  <a:lnTo>
                    <a:pt x="88" y="38"/>
                  </a:lnTo>
                  <a:lnTo>
                    <a:pt x="96" y="42"/>
                  </a:lnTo>
                  <a:lnTo>
                    <a:pt x="100" y="48"/>
                  </a:lnTo>
                  <a:lnTo>
                    <a:pt x="104" y="54"/>
                  </a:lnTo>
                  <a:lnTo>
                    <a:pt x="104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20762" y="878552"/>
            <a:ext cx="8860209" cy="1479998"/>
          </a:xfrm>
        </p:spPr>
        <p:txBody>
          <a:bodyPr>
            <a:normAutofit/>
          </a:bodyPr>
          <a:lstStyle/>
          <a:p>
            <a:r>
              <a:rPr lang="en-US" altLang="zh-CN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Collaborative</a:t>
            </a:r>
            <a:r>
              <a:rPr lang="zh-CN" altLang="en-US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4800" b="1" dirty="0" smtClean="0">
                <a:solidFill>
                  <a:srgbClr val="0070C0"/>
                </a:solidFill>
                <a:latin typeface="Georgia" charset="0"/>
                <a:ea typeface="Georgia" charset="0"/>
                <a:cs typeface="Georgia" charset="0"/>
              </a:rPr>
              <a:t>Filtering</a:t>
            </a:r>
            <a:endParaRPr lang="en-GB" sz="4800" b="1" dirty="0">
              <a:solidFill>
                <a:srgbClr val="0070C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6252384" y="5155173"/>
            <a:ext cx="2722934" cy="147675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zh-CN" sz="1400" b="1" dirty="0" smtClean="0">
                <a:solidFill>
                  <a:srgbClr val="EB8C00"/>
                </a:solidFill>
              </a:rPr>
              <a:t>Group</a:t>
            </a:r>
            <a:r>
              <a:rPr lang="zh-CN" altLang="en-US" sz="1400" b="1" dirty="0" smtClean="0">
                <a:solidFill>
                  <a:srgbClr val="EB8C00"/>
                </a:solidFill>
              </a:rPr>
              <a:t> </a:t>
            </a:r>
            <a:r>
              <a:rPr lang="en-US" altLang="zh-CN" sz="1400" b="1" dirty="0" smtClean="0">
                <a:solidFill>
                  <a:srgbClr val="EB8C00"/>
                </a:solidFill>
              </a:rPr>
              <a:t>4:</a:t>
            </a:r>
            <a:endParaRPr lang="en-US" sz="1600" dirty="0" smtClean="0">
              <a:solidFill>
                <a:srgbClr val="00B0F0"/>
              </a:solidFill>
            </a:endParaRPr>
          </a:p>
          <a:p>
            <a:pPr lvl="1">
              <a:defRPr/>
            </a:pPr>
            <a:r>
              <a:rPr lang="en-US" sz="1600" dirty="0" err="1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Mingyue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Kong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icole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Alyse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Smith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oah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Chasek-Macfoy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Judy </a:t>
            </a:r>
            <a:r>
              <a:rPr lang="en-US" sz="16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Jinhui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Cheng </a:t>
            </a:r>
          </a:p>
          <a:p>
            <a:pPr lvl="1">
              <a:defRPr/>
            </a:pPr>
            <a:r>
              <a:rPr lang="en-US" sz="1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Yun Li </a:t>
            </a:r>
          </a:p>
        </p:txBody>
      </p:sp>
      <p:grpSp>
        <p:nvGrpSpPr>
          <p:cNvPr id="3828" name="Group 3827"/>
          <p:cNvGrpSpPr/>
          <p:nvPr/>
        </p:nvGrpSpPr>
        <p:grpSpPr>
          <a:xfrm>
            <a:off x="5803491" y="4359893"/>
            <a:ext cx="492596" cy="1494210"/>
            <a:chOff x="3330476" y="4248783"/>
            <a:chExt cx="467874" cy="1419218"/>
          </a:xfrm>
        </p:grpSpPr>
        <p:sp>
          <p:nvSpPr>
            <p:cNvPr id="902" name="Freeform 16"/>
            <p:cNvSpPr>
              <a:spLocks noEditPoints="1"/>
            </p:cNvSpPr>
            <p:nvPr/>
          </p:nvSpPr>
          <p:spPr bwMode="auto">
            <a:xfrm>
              <a:off x="3330476" y="4248783"/>
              <a:ext cx="467874" cy="1419218"/>
            </a:xfrm>
            <a:custGeom>
              <a:avLst/>
              <a:gdLst>
                <a:gd name="T0" fmla="*/ 472 w 480"/>
                <a:gd name="T1" fmla="*/ 574 h 1456"/>
                <a:gd name="T2" fmla="*/ 466 w 480"/>
                <a:gd name="T3" fmla="*/ 460 h 1456"/>
                <a:gd name="T4" fmla="*/ 456 w 480"/>
                <a:gd name="T5" fmla="*/ 282 h 1456"/>
                <a:gd name="T6" fmla="*/ 334 w 480"/>
                <a:gd name="T7" fmla="*/ 206 h 1456"/>
                <a:gd name="T8" fmla="*/ 330 w 480"/>
                <a:gd name="T9" fmla="*/ 158 h 1456"/>
                <a:gd name="T10" fmla="*/ 340 w 480"/>
                <a:gd name="T11" fmla="*/ 142 h 1456"/>
                <a:gd name="T12" fmla="*/ 346 w 480"/>
                <a:gd name="T13" fmla="*/ 102 h 1456"/>
                <a:gd name="T14" fmla="*/ 324 w 480"/>
                <a:gd name="T15" fmla="*/ 16 h 1456"/>
                <a:gd name="T16" fmla="*/ 224 w 480"/>
                <a:gd name="T17" fmla="*/ 20 h 1456"/>
                <a:gd name="T18" fmla="*/ 206 w 480"/>
                <a:gd name="T19" fmla="*/ 92 h 1456"/>
                <a:gd name="T20" fmla="*/ 218 w 480"/>
                <a:gd name="T21" fmla="*/ 150 h 1456"/>
                <a:gd name="T22" fmla="*/ 232 w 480"/>
                <a:gd name="T23" fmla="*/ 186 h 1456"/>
                <a:gd name="T24" fmla="*/ 212 w 480"/>
                <a:gd name="T25" fmla="*/ 214 h 1456"/>
                <a:gd name="T26" fmla="*/ 128 w 480"/>
                <a:gd name="T27" fmla="*/ 238 h 1456"/>
                <a:gd name="T28" fmla="*/ 92 w 480"/>
                <a:gd name="T29" fmla="*/ 250 h 1456"/>
                <a:gd name="T30" fmla="*/ 54 w 480"/>
                <a:gd name="T31" fmla="*/ 352 h 1456"/>
                <a:gd name="T32" fmla="*/ 2 w 480"/>
                <a:gd name="T33" fmla="*/ 476 h 1456"/>
                <a:gd name="T34" fmla="*/ 16 w 480"/>
                <a:gd name="T35" fmla="*/ 580 h 1456"/>
                <a:gd name="T36" fmla="*/ 40 w 480"/>
                <a:gd name="T37" fmla="*/ 668 h 1456"/>
                <a:gd name="T38" fmla="*/ 70 w 480"/>
                <a:gd name="T39" fmla="*/ 672 h 1456"/>
                <a:gd name="T40" fmla="*/ 88 w 480"/>
                <a:gd name="T41" fmla="*/ 752 h 1456"/>
                <a:gd name="T42" fmla="*/ 96 w 480"/>
                <a:gd name="T43" fmla="*/ 964 h 1456"/>
                <a:gd name="T44" fmla="*/ 138 w 480"/>
                <a:gd name="T45" fmla="*/ 1206 h 1456"/>
                <a:gd name="T46" fmla="*/ 156 w 480"/>
                <a:gd name="T47" fmla="*/ 1310 h 1456"/>
                <a:gd name="T48" fmla="*/ 156 w 480"/>
                <a:gd name="T49" fmla="*/ 1348 h 1456"/>
                <a:gd name="T50" fmla="*/ 166 w 480"/>
                <a:gd name="T51" fmla="*/ 1390 h 1456"/>
                <a:gd name="T52" fmla="*/ 212 w 480"/>
                <a:gd name="T53" fmla="*/ 1378 h 1456"/>
                <a:gd name="T54" fmla="*/ 214 w 480"/>
                <a:gd name="T55" fmla="*/ 1448 h 1456"/>
                <a:gd name="T56" fmla="*/ 282 w 480"/>
                <a:gd name="T57" fmla="*/ 1448 h 1456"/>
                <a:gd name="T58" fmla="*/ 292 w 480"/>
                <a:gd name="T59" fmla="*/ 1388 h 1456"/>
                <a:gd name="T60" fmla="*/ 298 w 480"/>
                <a:gd name="T61" fmla="*/ 1360 h 1456"/>
                <a:gd name="T62" fmla="*/ 330 w 480"/>
                <a:gd name="T63" fmla="*/ 1242 h 1456"/>
                <a:gd name="T64" fmla="*/ 360 w 480"/>
                <a:gd name="T65" fmla="*/ 968 h 1456"/>
                <a:gd name="T66" fmla="*/ 378 w 480"/>
                <a:gd name="T67" fmla="*/ 810 h 1456"/>
                <a:gd name="T68" fmla="*/ 392 w 480"/>
                <a:gd name="T69" fmla="*/ 778 h 1456"/>
                <a:gd name="T70" fmla="*/ 388 w 480"/>
                <a:gd name="T71" fmla="*/ 516 h 1456"/>
                <a:gd name="T72" fmla="*/ 388 w 480"/>
                <a:gd name="T73" fmla="*/ 568 h 1456"/>
                <a:gd name="T74" fmla="*/ 406 w 480"/>
                <a:gd name="T75" fmla="*/ 696 h 1456"/>
                <a:gd name="T76" fmla="*/ 410 w 480"/>
                <a:gd name="T77" fmla="*/ 736 h 1456"/>
                <a:gd name="T78" fmla="*/ 408 w 480"/>
                <a:gd name="T79" fmla="*/ 790 h 1456"/>
                <a:gd name="T80" fmla="*/ 424 w 480"/>
                <a:gd name="T81" fmla="*/ 788 h 1456"/>
                <a:gd name="T82" fmla="*/ 436 w 480"/>
                <a:gd name="T83" fmla="*/ 776 h 1456"/>
                <a:gd name="T84" fmla="*/ 428 w 480"/>
                <a:gd name="T85" fmla="*/ 798 h 1456"/>
                <a:gd name="T86" fmla="*/ 398 w 480"/>
                <a:gd name="T87" fmla="*/ 812 h 1456"/>
                <a:gd name="T88" fmla="*/ 432 w 480"/>
                <a:gd name="T89" fmla="*/ 814 h 1456"/>
                <a:gd name="T90" fmla="*/ 460 w 480"/>
                <a:gd name="T91" fmla="*/ 790 h 1456"/>
                <a:gd name="T92" fmla="*/ 464 w 480"/>
                <a:gd name="T93" fmla="*/ 742 h 1456"/>
                <a:gd name="T94" fmla="*/ 472 w 480"/>
                <a:gd name="T95" fmla="*/ 680 h 1456"/>
                <a:gd name="T96" fmla="*/ 92 w 480"/>
                <a:gd name="T97" fmla="*/ 600 h 1456"/>
                <a:gd name="T98" fmla="*/ 70 w 480"/>
                <a:gd name="T99" fmla="*/ 522 h 1456"/>
                <a:gd name="T100" fmla="*/ 88 w 480"/>
                <a:gd name="T101" fmla="*/ 460 h 1456"/>
                <a:gd name="T102" fmla="*/ 114 w 480"/>
                <a:gd name="T103" fmla="*/ 422 h 1456"/>
                <a:gd name="T104" fmla="*/ 126 w 480"/>
                <a:gd name="T105" fmla="*/ 516 h 1456"/>
                <a:gd name="T106" fmla="*/ 232 w 480"/>
                <a:gd name="T107" fmla="*/ 1090 h 1456"/>
                <a:gd name="T108" fmla="*/ 220 w 480"/>
                <a:gd name="T109" fmla="*/ 1158 h 1456"/>
                <a:gd name="T110" fmla="*/ 212 w 480"/>
                <a:gd name="T111" fmla="*/ 1030 h 1456"/>
                <a:gd name="T112" fmla="*/ 232 w 480"/>
                <a:gd name="T113" fmla="*/ 856 h 1456"/>
                <a:gd name="T114" fmla="*/ 240 w 480"/>
                <a:gd name="T115" fmla="*/ 930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1456">
                  <a:moveTo>
                    <a:pt x="480" y="610"/>
                  </a:moveTo>
                  <a:lnTo>
                    <a:pt x="480" y="610"/>
                  </a:lnTo>
                  <a:lnTo>
                    <a:pt x="480" y="600"/>
                  </a:lnTo>
                  <a:lnTo>
                    <a:pt x="476" y="590"/>
                  </a:lnTo>
                  <a:lnTo>
                    <a:pt x="474" y="582"/>
                  </a:lnTo>
                  <a:lnTo>
                    <a:pt x="472" y="574"/>
                  </a:lnTo>
                  <a:lnTo>
                    <a:pt x="472" y="574"/>
                  </a:lnTo>
                  <a:lnTo>
                    <a:pt x="474" y="540"/>
                  </a:lnTo>
                  <a:lnTo>
                    <a:pt x="474" y="506"/>
                  </a:lnTo>
                  <a:lnTo>
                    <a:pt x="474" y="506"/>
                  </a:lnTo>
                  <a:lnTo>
                    <a:pt x="474" y="490"/>
                  </a:lnTo>
                  <a:lnTo>
                    <a:pt x="472" y="480"/>
                  </a:lnTo>
                  <a:lnTo>
                    <a:pt x="468" y="468"/>
                  </a:lnTo>
                  <a:lnTo>
                    <a:pt x="466" y="460"/>
                  </a:lnTo>
                  <a:lnTo>
                    <a:pt x="464" y="448"/>
                  </a:lnTo>
                  <a:lnTo>
                    <a:pt x="462" y="426"/>
                  </a:lnTo>
                  <a:lnTo>
                    <a:pt x="460" y="394"/>
                  </a:lnTo>
                  <a:lnTo>
                    <a:pt x="460" y="394"/>
                  </a:lnTo>
                  <a:lnTo>
                    <a:pt x="458" y="286"/>
                  </a:lnTo>
                  <a:lnTo>
                    <a:pt x="458" y="286"/>
                  </a:lnTo>
                  <a:lnTo>
                    <a:pt x="456" y="282"/>
                  </a:lnTo>
                  <a:lnTo>
                    <a:pt x="454" y="278"/>
                  </a:lnTo>
                  <a:lnTo>
                    <a:pt x="442" y="272"/>
                  </a:lnTo>
                  <a:lnTo>
                    <a:pt x="406" y="254"/>
                  </a:lnTo>
                  <a:lnTo>
                    <a:pt x="384" y="242"/>
                  </a:lnTo>
                  <a:lnTo>
                    <a:pt x="362" y="230"/>
                  </a:lnTo>
                  <a:lnTo>
                    <a:pt x="344" y="214"/>
                  </a:lnTo>
                  <a:lnTo>
                    <a:pt x="334" y="206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6" y="194"/>
                  </a:lnTo>
                  <a:lnTo>
                    <a:pt x="324" y="190"/>
                  </a:lnTo>
                  <a:lnTo>
                    <a:pt x="326" y="180"/>
                  </a:lnTo>
                  <a:lnTo>
                    <a:pt x="330" y="170"/>
                  </a:lnTo>
                  <a:lnTo>
                    <a:pt x="330" y="158"/>
                  </a:lnTo>
                  <a:lnTo>
                    <a:pt x="330" y="158"/>
                  </a:lnTo>
                  <a:lnTo>
                    <a:pt x="330" y="150"/>
                  </a:lnTo>
                  <a:lnTo>
                    <a:pt x="332" y="146"/>
                  </a:lnTo>
                  <a:lnTo>
                    <a:pt x="334" y="144"/>
                  </a:lnTo>
                  <a:lnTo>
                    <a:pt x="336" y="144"/>
                  </a:lnTo>
                  <a:lnTo>
                    <a:pt x="338" y="144"/>
                  </a:lnTo>
                  <a:lnTo>
                    <a:pt x="340" y="142"/>
                  </a:lnTo>
                  <a:lnTo>
                    <a:pt x="344" y="138"/>
                  </a:lnTo>
                  <a:lnTo>
                    <a:pt x="346" y="130"/>
                  </a:lnTo>
                  <a:lnTo>
                    <a:pt x="346" y="130"/>
                  </a:lnTo>
                  <a:lnTo>
                    <a:pt x="348" y="122"/>
                  </a:lnTo>
                  <a:lnTo>
                    <a:pt x="348" y="116"/>
                  </a:lnTo>
                  <a:lnTo>
                    <a:pt x="346" y="110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8" y="74"/>
                  </a:lnTo>
                  <a:lnTo>
                    <a:pt x="348" y="56"/>
                  </a:lnTo>
                  <a:lnTo>
                    <a:pt x="344" y="42"/>
                  </a:lnTo>
                  <a:lnTo>
                    <a:pt x="338" y="30"/>
                  </a:lnTo>
                  <a:lnTo>
                    <a:pt x="338" y="30"/>
                  </a:lnTo>
                  <a:lnTo>
                    <a:pt x="324" y="16"/>
                  </a:lnTo>
                  <a:lnTo>
                    <a:pt x="306" y="8"/>
                  </a:lnTo>
                  <a:lnTo>
                    <a:pt x="290" y="2"/>
                  </a:lnTo>
                  <a:lnTo>
                    <a:pt x="274" y="0"/>
                  </a:lnTo>
                  <a:lnTo>
                    <a:pt x="258" y="0"/>
                  </a:lnTo>
                  <a:lnTo>
                    <a:pt x="244" y="4"/>
                  </a:lnTo>
                  <a:lnTo>
                    <a:pt x="232" y="12"/>
                  </a:lnTo>
                  <a:lnTo>
                    <a:pt x="224" y="20"/>
                  </a:lnTo>
                  <a:lnTo>
                    <a:pt x="224" y="20"/>
                  </a:lnTo>
                  <a:lnTo>
                    <a:pt x="212" y="34"/>
                  </a:lnTo>
                  <a:lnTo>
                    <a:pt x="206" y="44"/>
                  </a:lnTo>
                  <a:lnTo>
                    <a:pt x="204" y="54"/>
                  </a:lnTo>
                  <a:lnTo>
                    <a:pt x="202" y="62"/>
                  </a:lnTo>
                  <a:lnTo>
                    <a:pt x="206" y="80"/>
                  </a:lnTo>
                  <a:lnTo>
                    <a:pt x="206" y="92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8" y="118"/>
                  </a:lnTo>
                  <a:lnTo>
                    <a:pt x="208" y="128"/>
                  </a:lnTo>
                  <a:lnTo>
                    <a:pt x="212" y="14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4"/>
                  </a:lnTo>
                  <a:lnTo>
                    <a:pt x="224" y="156"/>
                  </a:lnTo>
                  <a:lnTo>
                    <a:pt x="226" y="162"/>
                  </a:lnTo>
                  <a:lnTo>
                    <a:pt x="226" y="162"/>
                  </a:lnTo>
                  <a:lnTo>
                    <a:pt x="230" y="174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4" y="192"/>
                  </a:lnTo>
                  <a:lnTo>
                    <a:pt x="232" y="198"/>
                  </a:lnTo>
                  <a:lnTo>
                    <a:pt x="224" y="206"/>
                  </a:lnTo>
                  <a:lnTo>
                    <a:pt x="224" y="206"/>
                  </a:lnTo>
                  <a:lnTo>
                    <a:pt x="218" y="212"/>
                  </a:lnTo>
                  <a:lnTo>
                    <a:pt x="212" y="214"/>
                  </a:lnTo>
                  <a:lnTo>
                    <a:pt x="202" y="218"/>
                  </a:lnTo>
                  <a:lnTo>
                    <a:pt x="190" y="218"/>
                  </a:lnTo>
                  <a:lnTo>
                    <a:pt x="180" y="222"/>
                  </a:lnTo>
                  <a:lnTo>
                    <a:pt x="180" y="222"/>
                  </a:lnTo>
                  <a:lnTo>
                    <a:pt x="158" y="230"/>
                  </a:lnTo>
                  <a:lnTo>
                    <a:pt x="144" y="234"/>
                  </a:lnTo>
                  <a:lnTo>
                    <a:pt x="128" y="238"/>
                  </a:lnTo>
                  <a:lnTo>
                    <a:pt x="128" y="238"/>
                  </a:lnTo>
                  <a:lnTo>
                    <a:pt x="116" y="240"/>
                  </a:lnTo>
                  <a:lnTo>
                    <a:pt x="104" y="240"/>
                  </a:lnTo>
                  <a:lnTo>
                    <a:pt x="100" y="242"/>
                  </a:lnTo>
                  <a:lnTo>
                    <a:pt x="94" y="244"/>
                  </a:lnTo>
                  <a:lnTo>
                    <a:pt x="92" y="246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0" y="260"/>
                  </a:lnTo>
                  <a:lnTo>
                    <a:pt x="88" y="270"/>
                  </a:lnTo>
                  <a:lnTo>
                    <a:pt x="78" y="298"/>
                  </a:lnTo>
                  <a:lnTo>
                    <a:pt x="66" y="328"/>
                  </a:lnTo>
                  <a:lnTo>
                    <a:pt x="54" y="352"/>
                  </a:lnTo>
                  <a:lnTo>
                    <a:pt x="54" y="352"/>
                  </a:lnTo>
                  <a:lnTo>
                    <a:pt x="36" y="386"/>
                  </a:lnTo>
                  <a:lnTo>
                    <a:pt x="28" y="406"/>
                  </a:lnTo>
                  <a:lnTo>
                    <a:pt x="18" y="430"/>
                  </a:lnTo>
                  <a:lnTo>
                    <a:pt x="18" y="430"/>
                  </a:lnTo>
                  <a:lnTo>
                    <a:pt x="10" y="448"/>
                  </a:lnTo>
                  <a:lnTo>
                    <a:pt x="4" y="464"/>
                  </a:lnTo>
                  <a:lnTo>
                    <a:pt x="2" y="476"/>
                  </a:lnTo>
                  <a:lnTo>
                    <a:pt x="0" y="486"/>
                  </a:lnTo>
                  <a:lnTo>
                    <a:pt x="0" y="502"/>
                  </a:lnTo>
                  <a:lnTo>
                    <a:pt x="2" y="522"/>
                  </a:lnTo>
                  <a:lnTo>
                    <a:pt x="2" y="522"/>
                  </a:lnTo>
                  <a:lnTo>
                    <a:pt x="4" y="542"/>
                  </a:lnTo>
                  <a:lnTo>
                    <a:pt x="10" y="562"/>
                  </a:lnTo>
                  <a:lnTo>
                    <a:pt x="16" y="580"/>
                  </a:lnTo>
                  <a:lnTo>
                    <a:pt x="22" y="604"/>
                  </a:lnTo>
                  <a:lnTo>
                    <a:pt x="22" y="604"/>
                  </a:lnTo>
                  <a:lnTo>
                    <a:pt x="32" y="632"/>
                  </a:lnTo>
                  <a:lnTo>
                    <a:pt x="38" y="650"/>
                  </a:lnTo>
                  <a:lnTo>
                    <a:pt x="40" y="664"/>
                  </a:lnTo>
                  <a:lnTo>
                    <a:pt x="40" y="664"/>
                  </a:lnTo>
                  <a:lnTo>
                    <a:pt x="40" y="668"/>
                  </a:lnTo>
                  <a:lnTo>
                    <a:pt x="42" y="674"/>
                  </a:lnTo>
                  <a:lnTo>
                    <a:pt x="44" y="678"/>
                  </a:lnTo>
                  <a:lnTo>
                    <a:pt x="52" y="678"/>
                  </a:lnTo>
                  <a:lnTo>
                    <a:pt x="52" y="678"/>
                  </a:lnTo>
                  <a:lnTo>
                    <a:pt x="58" y="676"/>
                  </a:lnTo>
                  <a:lnTo>
                    <a:pt x="70" y="672"/>
                  </a:lnTo>
                  <a:lnTo>
                    <a:pt x="70" y="672"/>
                  </a:lnTo>
                  <a:lnTo>
                    <a:pt x="72" y="708"/>
                  </a:lnTo>
                  <a:lnTo>
                    <a:pt x="74" y="726"/>
                  </a:lnTo>
                  <a:lnTo>
                    <a:pt x="74" y="726"/>
                  </a:lnTo>
                  <a:lnTo>
                    <a:pt x="76" y="732"/>
                  </a:lnTo>
                  <a:lnTo>
                    <a:pt x="78" y="738"/>
                  </a:lnTo>
                  <a:lnTo>
                    <a:pt x="82" y="744"/>
                  </a:lnTo>
                  <a:lnTo>
                    <a:pt x="88" y="752"/>
                  </a:lnTo>
                  <a:lnTo>
                    <a:pt x="90" y="758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92" y="842"/>
                  </a:lnTo>
                  <a:lnTo>
                    <a:pt x="94" y="916"/>
                  </a:lnTo>
                  <a:lnTo>
                    <a:pt x="94" y="916"/>
                  </a:lnTo>
                  <a:lnTo>
                    <a:pt x="96" y="964"/>
                  </a:lnTo>
                  <a:lnTo>
                    <a:pt x="100" y="986"/>
                  </a:lnTo>
                  <a:lnTo>
                    <a:pt x="102" y="996"/>
                  </a:lnTo>
                  <a:lnTo>
                    <a:pt x="104" y="1014"/>
                  </a:lnTo>
                  <a:lnTo>
                    <a:pt x="104" y="1014"/>
                  </a:lnTo>
                  <a:lnTo>
                    <a:pt x="122" y="1110"/>
                  </a:lnTo>
                  <a:lnTo>
                    <a:pt x="138" y="1206"/>
                  </a:lnTo>
                  <a:lnTo>
                    <a:pt x="138" y="1206"/>
                  </a:lnTo>
                  <a:lnTo>
                    <a:pt x="140" y="1230"/>
                  </a:lnTo>
                  <a:lnTo>
                    <a:pt x="146" y="1258"/>
                  </a:lnTo>
                  <a:lnTo>
                    <a:pt x="152" y="1284"/>
                  </a:lnTo>
                  <a:lnTo>
                    <a:pt x="154" y="1306"/>
                  </a:lnTo>
                  <a:lnTo>
                    <a:pt x="154" y="1306"/>
                  </a:lnTo>
                  <a:lnTo>
                    <a:pt x="156" y="1310"/>
                  </a:lnTo>
                  <a:lnTo>
                    <a:pt x="156" y="1310"/>
                  </a:lnTo>
                  <a:lnTo>
                    <a:pt x="160" y="1310"/>
                  </a:lnTo>
                  <a:lnTo>
                    <a:pt x="162" y="1310"/>
                  </a:lnTo>
                  <a:lnTo>
                    <a:pt x="164" y="1314"/>
                  </a:lnTo>
                  <a:lnTo>
                    <a:pt x="164" y="1314"/>
                  </a:lnTo>
                  <a:lnTo>
                    <a:pt x="162" y="1330"/>
                  </a:lnTo>
                  <a:lnTo>
                    <a:pt x="160" y="1340"/>
                  </a:lnTo>
                  <a:lnTo>
                    <a:pt x="156" y="1348"/>
                  </a:lnTo>
                  <a:lnTo>
                    <a:pt x="156" y="1360"/>
                  </a:lnTo>
                  <a:lnTo>
                    <a:pt x="156" y="1360"/>
                  </a:lnTo>
                  <a:lnTo>
                    <a:pt x="156" y="1374"/>
                  </a:lnTo>
                  <a:lnTo>
                    <a:pt x="156" y="1382"/>
                  </a:lnTo>
                  <a:lnTo>
                    <a:pt x="160" y="1386"/>
                  </a:lnTo>
                  <a:lnTo>
                    <a:pt x="166" y="1390"/>
                  </a:lnTo>
                  <a:lnTo>
                    <a:pt x="166" y="1390"/>
                  </a:lnTo>
                  <a:lnTo>
                    <a:pt x="176" y="1392"/>
                  </a:lnTo>
                  <a:lnTo>
                    <a:pt x="186" y="1394"/>
                  </a:lnTo>
                  <a:lnTo>
                    <a:pt x="196" y="1392"/>
                  </a:lnTo>
                  <a:lnTo>
                    <a:pt x="206" y="1390"/>
                  </a:lnTo>
                  <a:lnTo>
                    <a:pt x="206" y="1390"/>
                  </a:lnTo>
                  <a:lnTo>
                    <a:pt x="208" y="1386"/>
                  </a:lnTo>
                  <a:lnTo>
                    <a:pt x="212" y="1378"/>
                  </a:lnTo>
                  <a:lnTo>
                    <a:pt x="218" y="1352"/>
                  </a:lnTo>
                  <a:lnTo>
                    <a:pt x="218" y="1352"/>
                  </a:lnTo>
                  <a:lnTo>
                    <a:pt x="212" y="1400"/>
                  </a:lnTo>
                  <a:lnTo>
                    <a:pt x="208" y="1436"/>
                  </a:lnTo>
                  <a:lnTo>
                    <a:pt x="208" y="1436"/>
                  </a:lnTo>
                  <a:lnTo>
                    <a:pt x="210" y="1444"/>
                  </a:lnTo>
                  <a:lnTo>
                    <a:pt x="214" y="1448"/>
                  </a:lnTo>
                  <a:lnTo>
                    <a:pt x="220" y="1452"/>
                  </a:lnTo>
                  <a:lnTo>
                    <a:pt x="228" y="1454"/>
                  </a:lnTo>
                  <a:lnTo>
                    <a:pt x="244" y="1456"/>
                  </a:lnTo>
                  <a:lnTo>
                    <a:pt x="262" y="1456"/>
                  </a:lnTo>
                  <a:lnTo>
                    <a:pt x="262" y="1456"/>
                  </a:lnTo>
                  <a:lnTo>
                    <a:pt x="270" y="1454"/>
                  </a:lnTo>
                  <a:lnTo>
                    <a:pt x="282" y="1448"/>
                  </a:lnTo>
                  <a:lnTo>
                    <a:pt x="292" y="1438"/>
                  </a:lnTo>
                  <a:lnTo>
                    <a:pt x="300" y="1428"/>
                  </a:lnTo>
                  <a:lnTo>
                    <a:pt x="300" y="1428"/>
                  </a:lnTo>
                  <a:lnTo>
                    <a:pt x="300" y="1426"/>
                  </a:lnTo>
                  <a:lnTo>
                    <a:pt x="300" y="1420"/>
                  </a:lnTo>
                  <a:lnTo>
                    <a:pt x="296" y="1406"/>
                  </a:lnTo>
                  <a:lnTo>
                    <a:pt x="292" y="1388"/>
                  </a:lnTo>
                  <a:lnTo>
                    <a:pt x="290" y="1370"/>
                  </a:lnTo>
                  <a:lnTo>
                    <a:pt x="290" y="1370"/>
                  </a:lnTo>
                  <a:lnTo>
                    <a:pt x="290" y="1368"/>
                  </a:lnTo>
                  <a:lnTo>
                    <a:pt x="292" y="1366"/>
                  </a:lnTo>
                  <a:lnTo>
                    <a:pt x="296" y="1364"/>
                  </a:lnTo>
                  <a:lnTo>
                    <a:pt x="298" y="1360"/>
                  </a:lnTo>
                  <a:lnTo>
                    <a:pt x="298" y="1360"/>
                  </a:lnTo>
                  <a:lnTo>
                    <a:pt x="300" y="1334"/>
                  </a:lnTo>
                  <a:lnTo>
                    <a:pt x="308" y="1300"/>
                  </a:lnTo>
                  <a:lnTo>
                    <a:pt x="308" y="1300"/>
                  </a:lnTo>
                  <a:lnTo>
                    <a:pt x="310" y="1292"/>
                  </a:lnTo>
                  <a:lnTo>
                    <a:pt x="312" y="1284"/>
                  </a:lnTo>
                  <a:lnTo>
                    <a:pt x="322" y="1264"/>
                  </a:lnTo>
                  <a:lnTo>
                    <a:pt x="330" y="1242"/>
                  </a:lnTo>
                  <a:lnTo>
                    <a:pt x="334" y="1232"/>
                  </a:lnTo>
                  <a:lnTo>
                    <a:pt x="334" y="1224"/>
                  </a:lnTo>
                  <a:lnTo>
                    <a:pt x="334" y="1224"/>
                  </a:lnTo>
                  <a:lnTo>
                    <a:pt x="342" y="1170"/>
                  </a:lnTo>
                  <a:lnTo>
                    <a:pt x="348" y="1114"/>
                  </a:lnTo>
                  <a:lnTo>
                    <a:pt x="354" y="1048"/>
                  </a:lnTo>
                  <a:lnTo>
                    <a:pt x="360" y="968"/>
                  </a:lnTo>
                  <a:lnTo>
                    <a:pt x="360" y="968"/>
                  </a:lnTo>
                  <a:lnTo>
                    <a:pt x="362" y="934"/>
                  </a:lnTo>
                  <a:lnTo>
                    <a:pt x="368" y="890"/>
                  </a:lnTo>
                  <a:lnTo>
                    <a:pt x="376" y="846"/>
                  </a:lnTo>
                  <a:lnTo>
                    <a:pt x="378" y="826"/>
                  </a:lnTo>
                  <a:lnTo>
                    <a:pt x="378" y="810"/>
                  </a:lnTo>
                  <a:lnTo>
                    <a:pt x="378" y="810"/>
                  </a:lnTo>
                  <a:lnTo>
                    <a:pt x="380" y="804"/>
                  </a:lnTo>
                  <a:lnTo>
                    <a:pt x="380" y="802"/>
                  </a:lnTo>
                  <a:lnTo>
                    <a:pt x="386" y="800"/>
                  </a:lnTo>
                  <a:lnTo>
                    <a:pt x="388" y="798"/>
                  </a:lnTo>
                  <a:lnTo>
                    <a:pt x="390" y="796"/>
                  </a:lnTo>
                  <a:lnTo>
                    <a:pt x="392" y="790"/>
                  </a:lnTo>
                  <a:lnTo>
                    <a:pt x="392" y="778"/>
                  </a:lnTo>
                  <a:lnTo>
                    <a:pt x="392" y="778"/>
                  </a:lnTo>
                  <a:lnTo>
                    <a:pt x="396" y="654"/>
                  </a:lnTo>
                  <a:lnTo>
                    <a:pt x="396" y="654"/>
                  </a:lnTo>
                  <a:lnTo>
                    <a:pt x="390" y="582"/>
                  </a:lnTo>
                  <a:lnTo>
                    <a:pt x="390" y="582"/>
                  </a:lnTo>
                  <a:lnTo>
                    <a:pt x="386" y="528"/>
                  </a:lnTo>
                  <a:lnTo>
                    <a:pt x="388" y="516"/>
                  </a:lnTo>
                  <a:lnTo>
                    <a:pt x="388" y="514"/>
                  </a:lnTo>
                  <a:lnTo>
                    <a:pt x="390" y="516"/>
                  </a:lnTo>
                  <a:lnTo>
                    <a:pt x="390" y="516"/>
                  </a:lnTo>
                  <a:lnTo>
                    <a:pt x="388" y="532"/>
                  </a:lnTo>
                  <a:lnTo>
                    <a:pt x="388" y="550"/>
                  </a:lnTo>
                  <a:lnTo>
                    <a:pt x="388" y="568"/>
                  </a:lnTo>
                  <a:lnTo>
                    <a:pt x="388" y="568"/>
                  </a:lnTo>
                  <a:lnTo>
                    <a:pt x="392" y="580"/>
                  </a:lnTo>
                  <a:lnTo>
                    <a:pt x="394" y="590"/>
                  </a:lnTo>
                  <a:lnTo>
                    <a:pt x="398" y="608"/>
                  </a:lnTo>
                  <a:lnTo>
                    <a:pt x="398" y="642"/>
                  </a:lnTo>
                  <a:lnTo>
                    <a:pt x="398" y="642"/>
                  </a:lnTo>
                  <a:lnTo>
                    <a:pt x="402" y="678"/>
                  </a:lnTo>
                  <a:lnTo>
                    <a:pt x="406" y="696"/>
                  </a:lnTo>
                  <a:lnTo>
                    <a:pt x="406" y="696"/>
                  </a:lnTo>
                  <a:lnTo>
                    <a:pt x="406" y="718"/>
                  </a:lnTo>
                  <a:lnTo>
                    <a:pt x="408" y="732"/>
                  </a:lnTo>
                  <a:lnTo>
                    <a:pt x="408" y="732"/>
                  </a:lnTo>
                  <a:lnTo>
                    <a:pt x="412" y="732"/>
                  </a:lnTo>
                  <a:lnTo>
                    <a:pt x="412" y="732"/>
                  </a:lnTo>
                  <a:lnTo>
                    <a:pt x="410" y="736"/>
                  </a:lnTo>
                  <a:lnTo>
                    <a:pt x="410" y="736"/>
                  </a:lnTo>
                  <a:lnTo>
                    <a:pt x="408" y="744"/>
                  </a:lnTo>
                  <a:lnTo>
                    <a:pt x="408" y="754"/>
                  </a:lnTo>
                  <a:lnTo>
                    <a:pt x="408" y="764"/>
                  </a:lnTo>
                  <a:lnTo>
                    <a:pt x="408" y="764"/>
                  </a:lnTo>
                  <a:lnTo>
                    <a:pt x="408" y="790"/>
                  </a:lnTo>
                  <a:lnTo>
                    <a:pt x="408" y="790"/>
                  </a:lnTo>
                  <a:lnTo>
                    <a:pt x="412" y="794"/>
                  </a:lnTo>
                  <a:lnTo>
                    <a:pt x="416" y="798"/>
                  </a:lnTo>
                  <a:lnTo>
                    <a:pt x="418" y="798"/>
                  </a:lnTo>
                  <a:lnTo>
                    <a:pt x="422" y="796"/>
                  </a:lnTo>
                  <a:lnTo>
                    <a:pt x="424" y="794"/>
                  </a:lnTo>
                  <a:lnTo>
                    <a:pt x="424" y="788"/>
                  </a:lnTo>
                  <a:lnTo>
                    <a:pt x="424" y="788"/>
                  </a:lnTo>
                  <a:lnTo>
                    <a:pt x="424" y="780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8" y="768"/>
                  </a:lnTo>
                  <a:lnTo>
                    <a:pt x="432" y="768"/>
                  </a:lnTo>
                  <a:lnTo>
                    <a:pt x="434" y="770"/>
                  </a:lnTo>
                  <a:lnTo>
                    <a:pt x="436" y="776"/>
                  </a:lnTo>
                  <a:lnTo>
                    <a:pt x="436" y="776"/>
                  </a:lnTo>
                  <a:lnTo>
                    <a:pt x="434" y="786"/>
                  </a:lnTo>
                  <a:lnTo>
                    <a:pt x="434" y="786"/>
                  </a:lnTo>
                  <a:lnTo>
                    <a:pt x="434" y="794"/>
                  </a:lnTo>
                  <a:lnTo>
                    <a:pt x="432" y="796"/>
                  </a:lnTo>
                  <a:lnTo>
                    <a:pt x="428" y="798"/>
                  </a:lnTo>
                  <a:lnTo>
                    <a:pt x="428" y="798"/>
                  </a:lnTo>
                  <a:lnTo>
                    <a:pt x="422" y="802"/>
                  </a:lnTo>
                  <a:lnTo>
                    <a:pt x="412" y="802"/>
                  </a:lnTo>
                  <a:lnTo>
                    <a:pt x="412" y="802"/>
                  </a:lnTo>
                  <a:lnTo>
                    <a:pt x="406" y="804"/>
                  </a:lnTo>
                  <a:lnTo>
                    <a:pt x="400" y="806"/>
                  </a:lnTo>
                  <a:lnTo>
                    <a:pt x="398" y="808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402" y="816"/>
                  </a:lnTo>
                  <a:lnTo>
                    <a:pt x="406" y="816"/>
                  </a:lnTo>
                  <a:lnTo>
                    <a:pt x="412" y="818"/>
                  </a:lnTo>
                  <a:lnTo>
                    <a:pt x="412" y="818"/>
                  </a:lnTo>
                  <a:lnTo>
                    <a:pt x="420" y="816"/>
                  </a:lnTo>
                  <a:lnTo>
                    <a:pt x="432" y="814"/>
                  </a:lnTo>
                  <a:lnTo>
                    <a:pt x="444" y="810"/>
                  </a:lnTo>
                  <a:lnTo>
                    <a:pt x="448" y="806"/>
                  </a:lnTo>
                  <a:lnTo>
                    <a:pt x="452" y="802"/>
                  </a:lnTo>
                  <a:lnTo>
                    <a:pt x="452" y="802"/>
                  </a:lnTo>
                  <a:lnTo>
                    <a:pt x="454" y="796"/>
                  </a:lnTo>
                  <a:lnTo>
                    <a:pt x="460" y="790"/>
                  </a:lnTo>
                  <a:lnTo>
                    <a:pt x="460" y="790"/>
                  </a:lnTo>
                  <a:lnTo>
                    <a:pt x="464" y="780"/>
                  </a:lnTo>
                  <a:lnTo>
                    <a:pt x="464" y="766"/>
                  </a:lnTo>
                  <a:lnTo>
                    <a:pt x="464" y="766"/>
                  </a:lnTo>
                  <a:lnTo>
                    <a:pt x="462" y="744"/>
                  </a:lnTo>
                  <a:lnTo>
                    <a:pt x="462" y="744"/>
                  </a:lnTo>
                  <a:lnTo>
                    <a:pt x="462" y="744"/>
                  </a:lnTo>
                  <a:lnTo>
                    <a:pt x="464" y="742"/>
                  </a:lnTo>
                  <a:lnTo>
                    <a:pt x="464" y="742"/>
                  </a:lnTo>
                  <a:lnTo>
                    <a:pt x="464" y="734"/>
                  </a:lnTo>
                  <a:lnTo>
                    <a:pt x="464" y="734"/>
                  </a:lnTo>
                  <a:lnTo>
                    <a:pt x="464" y="724"/>
                  </a:lnTo>
                  <a:lnTo>
                    <a:pt x="466" y="710"/>
                  </a:lnTo>
                  <a:lnTo>
                    <a:pt x="472" y="680"/>
                  </a:lnTo>
                  <a:lnTo>
                    <a:pt x="472" y="680"/>
                  </a:lnTo>
                  <a:lnTo>
                    <a:pt x="478" y="644"/>
                  </a:lnTo>
                  <a:lnTo>
                    <a:pt x="480" y="626"/>
                  </a:lnTo>
                  <a:lnTo>
                    <a:pt x="480" y="610"/>
                  </a:lnTo>
                  <a:lnTo>
                    <a:pt x="480" y="610"/>
                  </a:lnTo>
                  <a:close/>
                  <a:moveTo>
                    <a:pt x="96" y="590"/>
                  </a:moveTo>
                  <a:lnTo>
                    <a:pt x="96" y="590"/>
                  </a:lnTo>
                  <a:lnTo>
                    <a:pt x="92" y="600"/>
                  </a:lnTo>
                  <a:lnTo>
                    <a:pt x="88" y="604"/>
                  </a:lnTo>
                  <a:lnTo>
                    <a:pt x="88" y="604"/>
                  </a:lnTo>
                  <a:lnTo>
                    <a:pt x="84" y="594"/>
                  </a:lnTo>
                  <a:lnTo>
                    <a:pt x="84" y="594"/>
                  </a:lnTo>
                  <a:lnTo>
                    <a:pt x="76" y="564"/>
                  </a:lnTo>
                  <a:lnTo>
                    <a:pt x="70" y="522"/>
                  </a:lnTo>
                  <a:lnTo>
                    <a:pt x="70" y="522"/>
                  </a:lnTo>
                  <a:lnTo>
                    <a:pt x="70" y="502"/>
                  </a:lnTo>
                  <a:lnTo>
                    <a:pt x="74" y="494"/>
                  </a:lnTo>
                  <a:lnTo>
                    <a:pt x="76" y="486"/>
                  </a:lnTo>
                  <a:lnTo>
                    <a:pt x="76" y="486"/>
                  </a:lnTo>
                  <a:lnTo>
                    <a:pt x="82" y="478"/>
                  </a:lnTo>
                  <a:lnTo>
                    <a:pt x="86" y="470"/>
                  </a:lnTo>
                  <a:lnTo>
                    <a:pt x="88" y="460"/>
                  </a:lnTo>
                  <a:lnTo>
                    <a:pt x="88" y="460"/>
                  </a:lnTo>
                  <a:lnTo>
                    <a:pt x="100" y="432"/>
                  </a:lnTo>
                  <a:lnTo>
                    <a:pt x="100" y="432"/>
                  </a:lnTo>
                  <a:lnTo>
                    <a:pt x="102" y="424"/>
                  </a:lnTo>
                  <a:lnTo>
                    <a:pt x="106" y="418"/>
                  </a:lnTo>
                  <a:lnTo>
                    <a:pt x="110" y="418"/>
                  </a:lnTo>
                  <a:lnTo>
                    <a:pt x="114" y="422"/>
                  </a:lnTo>
                  <a:lnTo>
                    <a:pt x="114" y="422"/>
                  </a:lnTo>
                  <a:lnTo>
                    <a:pt x="116" y="430"/>
                  </a:lnTo>
                  <a:lnTo>
                    <a:pt x="118" y="440"/>
                  </a:lnTo>
                  <a:lnTo>
                    <a:pt x="122" y="470"/>
                  </a:lnTo>
                  <a:lnTo>
                    <a:pt x="126" y="508"/>
                  </a:lnTo>
                  <a:lnTo>
                    <a:pt x="126" y="508"/>
                  </a:lnTo>
                  <a:lnTo>
                    <a:pt x="126" y="516"/>
                  </a:lnTo>
                  <a:lnTo>
                    <a:pt x="124" y="524"/>
                  </a:lnTo>
                  <a:lnTo>
                    <a:pt x="118" y="544"/>
                  </a:lnTo>
                  <a:lnTo>
                    <a:pt x="96" y="590"/>
                  </a:lnTo>
                  <a:lnTo>
                    <a:pt x="96" y="590"/>
                  </a:lnTo>
                  <a:close/>
                  <a:moveTo>
                    <a:pt x="238" y="1034"/>
                  </a:moveTo>
                  <a:lnTo>
                    <a:pt x="238" y="1034"/>
                  </a:lnTo>
                  <a:lnTo>
                    <a:pt x="232" y="1090"/>
                  </a:lnTo>
                  <a:lnTo>
                    <a:pt x="228" y="1130"/>
                  </a:lnTo>
                  <a:lnTo>
                    <a:pt x="226" y="1158"/>
                  </a:lnTo>
                  <a:lnTo>
                    <a:pt x="226" y="1158"/>
                  </a:lnTo>
                  <a:lnTo>
                    <a:pt x="226" y="1204"/>
                  </a:lnTo>
                  <a:lnTo>
                    <a:pt x="226" y="1204"/>
                  </a:lnTo>
                  <a:lnTo>
                    <a:pt x="220" y="1158"/>
                  </a:lnTo>
                  <a:lnTo>
                    <a:pt x="220" y="1158"/>
                  </a:lnTo>
                  <a:lnTo>
                    <a:pt x="214" y="1142"/>
                  </a:lnTo>
                  <a:lnTo>
                    <a:pt x="212" y="1136"/>
                  </a:lnTo>
                  <a:lnTo>
                    <a:pt x="212" y="1130"/>
                  </a:lnTo>
                  <a:lnTo>
                    <a:pt x="212" y="1130"/>
                  </a:lnTo>
                  <a:lnTo>
                    <a:pt x="212" y="1084"/>
                  </a:lnTo>
                  <a:lnTo>
                    <a:pt x="212" y="1030"/>
                  </a:lnTo>
                  <a:lnTo>
                    <a:pt x="212" y="1030"/>
                  </a:lnTo>
                  <a:lnTo>
                    <a:pt x="212" y="1020"/>
                  </a:lnTo>
                  <a:lnTo>
                    <a:pt x="210" y="1012"/>
                  </a:lnTo>
                  <a:lnTo>
                    <a:pt x="210" y="998"/>
                  </a:lnTo>
                  <a:lnTo>
                    <a:pt x="216" y="972"/>
                  </a:lnTo>
                  <a:lnTo>
                    <a:pt x="216" y="972"/>
                  </a:lnTo>
                  <a:lnTo>
                    <a:pt x="226" y="900"/>
                  </a:lnTo>
                  <a:lnTo>
                    <a:pt x="232" y="856"/>
                  </a:lnTo>
                  <a:lnTo>
                    <a:pt x="234" y="842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38" y="844"/>
                  </a:lnTo>
                  <a:lnTo>
                    <a:pt x="238" y="856"/>
                  </a:lnTo>
                  <a:lnTo>
                    <a:pt x="240" y="892"/>
                  </a:lnTo>
                  <a:lnTo>
                    <a:pt x="240" y="930"/>
                  </a:lnTo>
                  <a:lnTo>
                    <a:pt x="240" y="952"/>
                  </a:lnTo>
                  <a:lnTo>
                    <a:pt x="240" y="952"/>
                  </a:lnTo>
                  <a:lnTo>
                    <a:pt x="242" y="970"/>
                  </a:lnTo>
                  <a:lnTo>
                    <a:pt x="240" y="998"/>
                  </a:lnTo>
                  <a:lnTo>
                    <a:pt x="238" y="1034"/>
                  </a:lnTo>
                  <a:lnTo>
                    <a:pt x="238" y="10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en-GB" sz="1539"/>
            </a:p>
          </p:txBody>
        </p:sp>
        <p:pic>
          <p:nvPicPr>
            <p:cNvPr id="903" name="Picture 17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1019" y="4426185"/>
              <a:ext cx="116969" cy="333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8837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5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Leftovers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Rounded Rectangle 11"/>
          <p:cNvSpPr/>
          <p:nvPr/>
        </p:nvSpPr>
        <p:spPr bwMode="ltGray">
          <a:xfrm>
            <a:off x="2793646" y="1761784"/>
            <a:ext cx="3570926" cy="1605642"/>
          </a:xfrm>
          <a:prstGeom prst="roundRect">
            <a:avLst>
              <a:gd name="adj" fmla="val 12116"/>
            </a:avLst>
          </a:prstGeom>
          <a:noFill/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" name="Rectangle 12"/>
          <p:cNvSpPr/>
          <p:nvPr/>
        </p:nvSpPr>
        <p:spPr bwMode="ltGray">
          <a:xfrm>
            <a:off x="4085422" y="3244276"/>
            <a:ext cx="1772336" cy="246298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Right Arrow 13"/>
          <p:cNvSpPr/>
          <p:nvPr/>
        </p:nvSpPr>
        <p:spPr bwMode="ltGray">
          <a:xfrm rot="16200000">
            <a:off x="1356477" y="2483884"/>
            <a:ext cx="2862629" cy="2712184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bg1"/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7" name="Right Arrow 16"/>
          <p:cNvSpPr/>
          <p:nvPr/>
        </p:nvSpPr>
        <p:spPr bwMode="ltGray">
          <a:xfrm rot="16200000">
            <a:off x="4934355" y="3145631"/>
            <a:ext cx="2862629" cy="2712184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bg1"/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39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548812" y="3070408"/>
            <a:ext cx="2486365" cy="21052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2394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5122486" y="3722759"/>
            <a:ext cx="2486367" cy="21076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sz="2394"/>
          </a:p>
        </p:txBody>
      </p:sp>
      <p:grpSp>
        <p:nvGrpSpPr>
          <p:cNvPr id="20" name="Group 19"/>
          <p:cNvGrpSpPr/>
          <p:nvPr/>
        </p:nvGrpSpPr>
        <p:grpSpPr>
          <a:xfrm>
            <a:off x="2855082" y="1808828"/>
            <a:ext cx="307838" cy="307838"/>
            <a:chOff x="3114290" y="1885931"/>
            <a:chExt cx="332854" cy="354863"/>
          </a:xfrm>
        </p:grpSpPr>
        <p:sp>
          <p:nvSpPr>
            <p:cNvPr id="21" name="Oval 20"/>
            <p:cNvSpPr>
              <a:spLocks noChangeArrowheads="1"/>
            </p:cNvSpPr>
            <p:nvPr/>
          </p:nvSpPr>
          <p:spPr bwMode="auto">
            <a:xfrm>
              <a:off x="3114290" y="1885931"/>
              <a:ext cx="332854" cy="354863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  <p:sp>
          <p:nvSpPr>
            <p:cNvPr id="22" name="Oval 21"/>
            <p:cNvSpPr>
              <a:spLocks noChangeArrowheads="1"/>
            </p:cNvSpPr>
            <p:nvPr/>
          </p:nvSpPr>
          <p:spPr bwMode="auto">
            <a:xfrm>
              <a:off x="3199566" y="1979461"/>
              <a:ext cx="162302" cy="16780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001939" y="1808828"/>
            <a:ext cx="307838" cy="307838"/>
            <a:chOff x="6811456" y="1885931"/>
            <a:chExt cx="338356" cy="354863"/>
          </a:xfrm>
        </p:grpSpPr>
        <p:sp>
          <p:nvSpPr>
            <p:cNvPr id="24" name="Oval 23"/>
            <p:cNvSpPr>
              <a:spLocks noChangeArrowheads="1"/>
            </p:cNvSpPr>
            <p:nvPr/>
          </p:nvSpPr>
          <p:spPr bwMode="auto">
            <a:xfrm>
              <a:off x="6811456" y="1885931"/>
              <a:ext cx="338356" cy="354863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  <p:sp>
          <p:nvSpPr>
            <p:cNvPr id="25" name="Oval 24"/>
            <p:cNvSpPr>
              <a:spLocks noChangeArrowheads="1"/>
            </p:cNvSpPr>
            <p:nvPr/>
          </p:nvSpPr>
          <p:spPr bwMode="auto">
            <a:xfrm>
              <a:off x="6902234" y="1979461"/>
              <a:ext cx="159550" cy="16780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buSzPct val="90000"/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folHlink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>
                <a:defRPr/>
              </a:pPr>
              <a:endParaRPr lang="en-US" sz="2394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488981" y="3221065"/>
            <a:ext cx="250331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altLang="zh-CN" sz="1300" dirty="0" smtClean="0">
                <a:latin typeface="Arial" charset="0"/>
                <a:ea typeface="Arial" charset="0"/>
                <a:cs typeface="Arial" charset="0"/>
              </a:rPr>
              <a:t>We spent a lot of understanding the math behind collaborative filtering. </a:t>
            </a:r>
            <a:endParaRPr lang="en-US" sz="13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32848" y="2697278"/>
            <a:ext cx="11215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dirty="0" smtClean="0">
                <a:solidFill>
                  <a:srgbClr val="DC6900"/>
                </a:solidFill>
                <a:latin typeface="Arial" charset="0"/>
                <a:ea typeface="Arial" charset="0"/>
                <a:cs typeface="Arial" charset="0"/>
              </a:rPr>
              <a:t>Process</a:t>
            </a:r>
            <a:endParaRPr lang="en-US" sz="1300" b="1" dirty="0">
              <a:solidFill>
                <a:srgbClr val="DC69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50594" y="3344380"/>
            <a:ext cx="173477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300" b="1" smtClean="0">
                <a:solidFill>
                  <a:srgbClr val="DC6900"/>
                </a:solidFill>
                <a:latin typeface="Arial" charset="0"/>
                <a:ea typeface="Arial" charset="0"/>
                <a:cs typeface="Arial" charset="0"/>
              </a:rPr>
              <a:t>Improvements</a:t>
            </a:r>
            <a:endParaRPr lang="en-US" sz="1300" b="1" dirty="0">
              <a:solidFill>
                <a:srgbClr val="DC69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47677" y="3854317"/>
            <a:ext cx="259927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300" dirty="0" smtClean="0">
                <a:latin typeface="Arial" charset="0"/>
                <a:ea typeface="Arial" charset="0"/>
                <a:cs typeface="Arial" charset="0"/>
              </a:rPr>
              <a:t>Model-based: Minimize number of loops in the EM algorithm to improve computational time. 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300" dirty="0" smtClean="0">
                <a:latin typeface="Arial" charset="0"/>
                <a:ea typeface="Arial" charset="0"/>
                <a:cs typeface="Arial" charset="0"/>
              </a:rPr>
              <a:t>Model-based: Use cross-validation.</a:t>
            </a:r>
          </a:p>
        </p:txBody>
      </p:sp>
    </p:spTree>
    <p:extLst>
      <p:ext uri="{BB962C8B-B14F-4D97-AF65-F5344CB8AC3E}">
        <p14:creationId xmlns:p14="http://schemas.microsoft.com/office/powerpoint/2010/main" val="3907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Thank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you!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00472" y="4149080"/>
            <a:ext cx="3063416" cy="21052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buSzPct val="90000"/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folHlink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zh-CN" sz="2394" b="1" dirty="0" smtClean="0">
                <a:solidFill>
                  <a:srgbClr val="EB8C00"/>
                </a:solidFill>
              </a:rPr>
              <a:t>Group</a:t>
            </a:r>
            <a:r>
              <a:rPr lang="zh-CN" altLang="en-US" sz="2394" b="1" dirty="0" smtClean="0">
                <a:solidFill>
                  <a:srgbClr val="EB8C00"/>
                </a:solidFill>
              </a:rPr>
              <a:t> </a:t>
            </a:r>
            <a:r>
              <a:rPr lang="en-US" altLang="zh-CN" sz="2394" b="1" dirty="0" smtClean="0">
                <a:solidFill>
                  <a:srgbClr val="EB8C00"/>
                </a:solidFill>
              </a:rPr>
              <a:t>4:</a:t>
            </a:r>
          </a:p>
          <a:p>
            <a:pPr>
              <a:defRPr/>
            </a:pPr>
            <a:endParaRPr lang="en-US" sz="1800" dirty="0" smtClean="0">
              <a:solidFill>
                <a:srgbClr val="00B0F0"/>
              </a:solidFill>
            </a:endParaRPr>
          </a:p>
          <a:p>
            <a:pPr>
              <a:defRPr/>
            </a:pPr>
            <a:r>
              <a:rPr lang="en-US" sz="1800" dirty="0" err="1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Mingyue</a:t>
            </a:r>
            <a:r>
              <a:rPr lang="en-US" sz="18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Kong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icole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Alyse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Smith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Noah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Chasek-Macfoy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Judy </a:t>
            </a:r>
            <a:r>
              <a:rPr lang="en-US" sz="1800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Jinhui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Cheng </a:t>
            </a:r>
          </a:p>
          <a:p>
            <a:pPr>
              <a:defRPr/>
            </a:pPr>
            <a:r>
              <a:rPr lang="en-US" sz="18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Yun Li </a:t>
            </a:r>
          </a:p>
        </p:txBody>
      </p:sp>
    </p:spTree>
    <p:extLst>
      <p:ext uri="{BB962C8B-B14F-4D97-AF65-F5344CB8AC3E}">
        <p14:creationId xmlns:p14="http://schemas.microsoft.com/office/powerpoint/2010/main" val="199439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Table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of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Contents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graphicFrame>
        <p:nvGraphicFramePr>
          <p:cNvPr id="93" name="Diagram 92"/>
          <p:cNvGraphicFramePr/>
          <p:nvPr>
            <p:extLst>
              <p:ext uri="{D42A27DB-BD31-4B8C-83A1-F6EECF244321}">
                <p14:modId xmlns:p14="http://schemas.microsoft.com/office/powerpoint/2010/main" val="1699265919"/>
              </p:ext>
            </p:extLst>
          </p:nvPr>
        </p:nvGraphicFramePr>
        <p:xfrm>
          <a:off x="588848" y="1705472"/>
          <a:ext cx="4559216" cy="3811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8481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3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1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Project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Introduction</a:t>
            </a:r>
            <a:endParaRPr lang="en-GB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87" name="Group 86"/>
          <p:cNvGrpSpPr/>
          <p:nvPr/>
        </p:nvGrpSpPr>
        <p:grpSpPr>
          <a:xfrm rot="2232591">
            <a:off x="5350294" y="4810088"/>
            <a:ext cx="256280" cy="387549"/>
            <a:chOff x="7356351" y="4058269"/>
            <a:chExt cx="376238" cy="571501"/>
          </a:xfrm>
        </p:grpSpPr>
        <p:sp>
          <p:nvSpPr>
            <p:cNvPr id="88" name="Freeform 214"/>
            <p:cNvSpPr>
              <a:spLocks/>
            </p:cNvSpPr>
            <p:nvPr/>
          </p:nvSpPr>
          <p:spPr bwMode="auto">
            <a:xfrm>
              <a:off x="7356351" y="4491657"/>
              <a:ext cx="376238" cy="138113"/>
            </a:xfrm>
            <a:custGeom>
              <a:avLst/>
              <a:gdLst>
                <a:gd name="T0" fmla="*/ 0 w 237"/>
                <a:gd name="T1" fmla="*/ 39 h 87"/>
                <a:gd name="T2" fmla="*/ 3 w 237"/>
                <a:gd name="T3" fmla="*/ 51 h 87"/>
                <a:gd name="T4" fmla="*/ 14 w 237"/>
                <a:gd name="T5" fmla="*/ 66 h 87"/>
                <a:gd name="T6" fmla="*/ 40 w 237"/>
                <a:gd name="T7" fmla="*/ 87 h 87"/>
                <a:gd name="T8" fmla="*/ 44 w 237"/>
                <a:gd name="T9" fmla="*/ 87 h 87"/>
                <a:gd name="T10" fmla="*/ 53 w 237"/>
                <a:gd name="T11" fmla="*/ 86 h 87"/>
                <a:gd name="T12" fmla="*/ 63 w 237"/>
                <a:gd name="T13" fmla="*/ 83 h 87"/>
                <a:gd name="T14" fmla="*/ 105 w 237"/>
                <a:gd name="T15" fmla="*/ 84 h 87"/>
                <a:gd name="T16" fmla="*/ 151 w 237"/>
                <a:gd name="T17" fmla="*/ 82 h 87"/>
                <a:gd name="T18" fmla="*/ 161 w 237"/>
                <a:gd name="T19" fmla="*/ 80 h 87"/>
                <a:gd name="T20" fmla="*/ 181 w 237"/>
                <a:gd name="T21" fmla="*/ 67 h 87"/>
                <a:gd name="T22" fmla="*/ 218 w 237"/>
                <a:gd name="T23" fmla="*/ 36 h 87"/>
                <a:gd name="T24" fmla="*/ 234 w 237"/>
                <a:gd name="T25" fmla="*/ 16 h 87"/>
                <a:gd name="T26" fmla="*/ 237 w 237"/>
                <a:gd name="T27" fmla="*/ 10 h 87"/>
                <a:gd name="T28" fmla="*/ 234 w 237"/>
                <a:gd name="T29" fmla="*/ 1 h 87"/>
                <a:gd name="T30" fmla="*/ 228 w 237"/>
                <a:gd name="T31" fmla="*/ 0 h 87"/>
                <a:gd name="T32" fmla="*/ 217 w 237"/>
                <a:gd name="T33" fmla="*/ 4 h 87"/>
                <a:gd name="T34" fmla="*/ 208 w 237"/>
                <a:gd name="T35" fmla="*/ 11 h 87"/>
                <a:gd name="T36" fmla="*/ 181 w 237"/>
                <a:gd name="T37" fmla="*/ 37 h 87"/>
                <a:gd name="T38" fmla="*/ 171 w 237"/>
                <a:gd name="T39" fmla="*/ 43 h 87"/>
                <a:gd name="T40" fmla="*/ 148 w 237"/>
                <a:gd name="T41" fmla="*/ 51 h 87"/>
                <a:gd name="T42" fmla="*/ 122 w 237"/>
                <a:gd name="T43" fmla="*/ 51 h 87"/>
                <a:gd name="T44" fmla="*/ 100 w 237"/>
                <a:gd name="T45" fmla="*/ 43 h 87"/>
                <a:gd name="T46" fmla="*/ 92 w 237"/>
                <a:gd name="T47" fmla="*/ 33 h 87"/>
                <a:gd name="T48" fmla="*/ 100 w 237"/>
                <a:gd name="T49" fmla="*/ 34 h 87"/>
                <a:gd name="T50" fmla="*/ 133 w 237"/>
                <a:gd name="T51" fmla="*/ 34 h 87"/>
                <a:gd name="T52" fmla="*/ 155 w 237"/>
                <a:gd name="T53" fmla="*/ 30 h 87"/>
                <a:gd name="T54" fmla="*/ 161 w 237"/>
                <a:gd name="T55" fmla="*/ 26 h 87"/>
                <a:gd name="T56" fmla="*/ 164 w 237"/>
                <a:gd name="T57" fmla="*/ 20 h 87"/>
                <a:gd name="T58" fmla="*/ 165 w 237"/>
                <a:gd name="T59" fmla="*/ 11 h 87"/>
                <a:gd name="T60" fmla="*/ 162 w 237"/>
                <a:gd name="T61" fmla="*/ 5 h 87"/>
                <a:gd name="T62" fmla="*/ 151 w 237"/>
                <a:gd name="T63" fmla="*/ 4 h 87"/>
                <a:gd name="T64" fmla="*/ 116 w 237"/>
                <a:gd name="T65" fmla="*/ 5 h 87"/>
                <a:gd name="T66" fmla="*/ 79 w 237"/>
                <a:gd name="T67" fmla="*/ 4 h 87"/>
                <a:gd name="T68" fmla="*/ 56 w 237"/>
                <a:gd name="T69" fmla="*/ 1 h 87"/>
                <a:gd name="T70" fmla="*/ 39 w 237"/>
                <a:gd name="T71" fmla="*/ 1 h 87"/>
                <a:gd name="T72" fmla="*/ 34 w 237"/>
                <a:gd name="T73" fmla="*/ 3 h 87"/>
                <a:gd name="T74" fmla="*/ 14 w 237"/>
                <a:gd name="T75" fmla="*/ 16 h 87"/>
                <a:gd name="T76" fmla="*/ 4 w 237"/>
                <a:gd name="T77" fmla="*/ 27 h 87"/>
                <a:gd name="T78" fmla="*/ 0 w 237"/>
                <a:gd name="T79" fmla="*/ 3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7" h="87">
                  <a:moveTo>
                    <a:pt x="0" y="39"/>
                  </a:moveTo>
                  <a:lnTo>
                    <a:pt x="0" y="39"/>
                  </a:lnTo>
                  <a:lnTo>
                    <a:pt x="0" y="44"/>
                  </a:lnTo>
                  <a:lnTo>
                    <a:pt x="3" y="51"/>
                  </a:lnTo>
                  <a:lnTo>
                    <a:pt x="8" y="60"/>
                  </a:lnTo>
                  <a:lnTo>
                    <a:pt x="14" y="66"/>
                  </a:lnTo>
                  <a:lnTo>
                    <a:pt x="29" y="79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4" y="87"/>
                  </a:lnTo>
                  <a:lnTo>
                    <a:pt x="47" y="87"/>
                  </a:lnTo>
                  <a:lnTo>
                    <a:pt x="53" y="86"/>
                  </a:lnTo>
                  <a:lnTo>
                    <a:pt x="57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105" y="84"/>
                  </a:lnTo>
                  <a:lnTo>
                    <a:pt x="138" y="83"/>
                  </a:lnTo>
                  <a:lnTo>
                    <a:pt x="151" y="82"/>
                  </a:lnTo>
                  <a:lnTo>
                    <a:pt x="161" y="80"/>
                  </a:lnTo>
                  <a:lnTo>
                    <a:pt x="161" y="80"/>
                  </a:lnTo>
                  <a:lnTo>
                    <a:pt x="169" y="76"/>
                  </a:lnTo>
                  <a:lnTo>
                    <a:pt x="181" y="67"/>
                  </a:lnTo>
                  <a:lnTo>
                    <a:pt x="207" y="47"/>
                  </a:lnTo>
                  <a:lnTo>
                    <a:pt x="218" y="36"/>
                  </a:lnTo>
                  <a:lnTo>
                    <a:pt x="228" y="24"/>
                  </a:lnTo>
                  <a:lnTo>
                    <a:pt x="234" y="16"/>
                  </a:lnTo>
                  <a:lnTo>
                    <a:pt x="237" y="10"/>
                  </a:lnTo>
                  <a:lnTo>
                    <a:pt x="237" y="10"/>
                  </a:lnTo>
                  <a:lnTo>
                    <a:pt x="235" y="4"/>
                  </a:lnTo>
                  <a:lnTo>
                    <a:pt x="234" y="1"/>
                  </a:lnTo>
                  <a:lnTo>
                    <a:pt x="231" y="0"/>
                  </a:lnTo>
                  <a:lnTo>
                    <a:pt x="228" y="0"/>
                  </a:lnTo>
                  <a:lnTo>
                    <a:pt x="225" y="1"/>
                  </a:lnTo>
                  <a:lnTo>
                    <a:pt x="217" y="4"/>
                  </a:lnTo>
                  <a:lnTo>
                    <a:pt x="217" y="4"/>
                  </a:lnTo>
                  <a:lnTo>
                    <a:pt x="208" y="11"/>
                  </a:lnTo>
                  <a:lnTo>
                    <a:pt x="198" y="20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71" y="43"/>
                  </a:lnTo>
                  <a:lnTo>
                    <a:pt x="159" y="49"/>
                  </a:lnTo>
                  <a:lnTo>
                    <a:pt x="148" y="51"/>
                  </a:lnTo>
                  <a:lnTo>
                    <a:pt x="135" y="53"/>
                  </a:lnTo>
                  <a:lnTo>
                    <a:pt x="122" y="51"/>
                  </a:lnTo>
                  <a:lnTo>
                    <a:pt x="110" y="49"/>
                  </a:lnTo>
                  <a:lnTo>
                    <a:pt x="100" y="43"/>
                  </a:lnTo>
                  <a:lnTo>
                    <a:pt x="96" y="39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100" y="34"/>
                  </a:lnTo>
                  <a:lnTo>
                    <a:pt x="122" y="36"/>
                  </a:lnTo>
                  <a:lnTo>
                    <a:pt x="133" y="34"/>
                  </a:lnTo>
                  <a:lnTo>
                    <a:pt x="145" y="33"/>
                  </a:lnTo>
                  <a:lnTo>
                    <a:pt x="155" y="30"/>
                  </a:lnTo>
                  <a:lnTo>
                    <a:pt x="158" y="28"/>
                  </a:lnTo>
                  <a:lnTo>
                    <a:pt x="161" y="26"/>
                  </a:lnTo>
                  <a:lnTo>
                    <a:pt x="161" y="26"/>
                  </a:lnTo>
                  <a:lnTo>
                    <a:pt x="164" y="20"/>
                  </a:lnTo>
                  <a:lnTo>
                    <a:pt x="165" y="14"/>
                  </a:lnTo>
                  <a:lnTo>
                    <a:pt x="165" y="11"/>
                  </a:lnTo>
                  <a:lnTo>
                    <a:pt x="164" y="8"/>
                  </a:lnTo>
                  <a:lnTo>
                    <a:pt x="162" y="5"/>
                  </a:lnTo>
                  <a:lnTo>
                    <a:pt x="158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16" y="5"/>
                  </a:lnTo>
                  <a:lnTo>
                    <a:pt x="95" y="5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56" y="1"/>
                  </a:lnTo>
                  <a:lnTo>
                    <a:pt x="43" y="0"/>
                  </a:lnTo>
                  <a:lnTo>
                    <a:pt x="39" y="1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24" y="8"/>
                  </a:lnTo>
                  <a:lnTo>
                    <a:pt x="14" y="16"/>
                  </a:lnTo>
                  <a:lnTo>
                    <a:pt x="8" y="21"/>
                  </a:lnTo>
                  <a:lnTo>
                    <a:pt x="4" y="27"/>
                  </a:lnTo>
                  <a:lnTo>
                    <a:pt x="1" y="33"/>
                  </a:lnTo>
                  <a:lnTo>
                    <a:pt x="0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89" name="Freeform 215"/>
            <p:cNvSpPr>
              <a:spLocks/>
            </p:cNvSpPr>
            <p:nvPr/>
          </p:nvSpPr>
          <p:spPr bwMode="auto">
            <a:xfrm>
              <a:off x="7491288" y="4407519"/>
              <a:ext cx="152400" cy="58738"/>
            </a:xfrm>
            <a:custGeom>
              <a:avLst/>
              <a:gdLst>
                <a:gd name="T0" fmla="*/ 86 w 96"/>
                <a:gd name="T1" fmla="*/ 0 h 37"/>
                <a:gd name="T2" fmla="*/ 10 w 96"/>
                <a:gd name="T3" fmla="*/ 0 h 37"/>
                <a:gd name="T4" fmla="*/ 10 w 96"/>
                <a:gd name="T5" fmla="*/ 0 h 37"/>
                <a:gd name="T6" fmla="*/ 5 w 96"/>
                <a:gd name="T7" fmla="*/ 1 h 37"/>
                <a:gd name="T8" fmla="*/ 2 w 96"/>
                <a:gd name="T9" fmla="*/ 2 h 37"/>
                <a:gd name="T10" fmla="*/ 1 w 96"/>
                <a:gd name="T11" fmla="*/ 7 h 37"/>
                <a:gd name="T12" fmla="*/ 0 w 96"/>
                <a:gd name="T13" fmla="*/ 10 h 37"/>
                <a:gd name="T14" fmla="*/ 0 w 96"/>
                <a:gd name="T15" fmla="*/ 10 h 37"/>
                <a:gd name="T16" fmla="*/ 1 w 96"/>
                <a:gd name="T17" fmla="*/ 14 h 37"/>
                <a:gd name="T18" fmla="*/ 2 w 96"/>
                <a:gd name="T19" fmla="*/ 18 h 37"/>
                <a:gd name="T20" fmla="*/ 5 w 96"/>
                <a:gd name="T21" fmla="*/ 20 h 37"/>
                <a:gd name="T22" fmla="*/ 10 w 96"/>
                <a:gd name="T23" fmla="*/ 21 h 37"/>
                <a:gd name="T24" fmla="*/ 25 w 96"/>
                <a:gd name="T25" fmla="*/ 21 h 37"/>
                <a:gd name="T26" fmla="*/ 25 w 96"/>
                <a:gd name="T27" fmla="*/ 21 h 37"/>
                <a:gd name="T28" fmla="*/ 25 w 96"/>
                <a:gd name="T29" fmla="*/ 21 h 37"/>
                <a:gd name="T30" fmla="*/ 25 w 96"/>
                <a:gd name="T31" fmla="*/ 21 h 37"/>
                <a:gd name="T32" fmla="*/ 27 w 96"/>
                <a:gd name="T33" fmla="*/ 24 h 37"/>
                <a:gd name="T34" fmla="*/ 28 w 96"/>
                <a:gd name="T35" fmla="*/ 27 h 37"/>
                <a:gd name="T36" fmla="*/ 33 w 96"/>
                <a:gd name="T37" fmla="*/ 33 h 37"/>
                <a:gd name="T38" fmla="*/ 40 w 96"/>
                <a:gd name="T39" fmla="*/ 35 h 37"/>
                <a:gd name="T40" fmla="*/ 48 w 96"/>
                <a:gd name="T41" fmla="*/ 37 h 37"/>
                <a:gd name="T42" fmla="*/ 48 w 96"/>
                <a:gd name="T43" fmla="*/ 37 h 37"/>
                <a:gd name="T44" fmla="*/ 57 w 96"/>
                <a:gd name="T45" fmla="*/ 35 h 37"/>
                <a:gd name="T46" fmla="*/ 64 w 96"/>
                <a:gd name="T47" fmla="*/ 33 h 37"/>
                <a:gd name="T48" fmla="*/ 69 w 96"/>
                <a:gd name="T49" fmla="*/ 27 h 37"/>
                <a:gd name="T50" fmla="*/ 70 w 96"/>
                <a:gd name="T51" fmla="*/ 24 h 37"/>
                <a:gd name="T52" fmla="*/ 70 w 96"/>
                <a:gd name="T53" fmla="*/ 21 h 37"/>
                <a:gd name="T54" fmla="*/ 70 w 96"/>
                <a:gd name="T55" fmla="*/ 21 h 37"/>
                <a:gd name="T56" fmla="*/ 70 w 96"/>
                <a:gd name="T57" fmla="*/ 21 h 37"/>
                <a:gd name="T58" fmla="*/ 86 w 96"/>
                <a:gd name="T59" fmla="*/ 21 h 37"/>
                <a:gd name="T60" fmla="*/ 86 w 96"/>
                <a:gd name="T61" fmla="*/ 21 h 37"/>
                <a:gd name="T62" fmla="*/ 90 w 96"/>
                <a:gd name="T63" fmla="*/ 20 h 37"/>
                <a:gd name="T64" fmla="*/ 93 w 96"/>
                <a:gd name="T65" fmla="*/ 18 h 37"/>
                <a:gd name="T66" fmla="*/ 96 w 96"/>
                <a:gd name="T67" fmla="*/ 14 h 37"/>
                <a:gd name="T68" fmla="*/ 96 w 96"/>
                <a:gd name="T69" fmla="*/ 10 h 37"/>
                <a:gd name="T70" fmla="*/ 96 w 96"/>
                <a:gd name="T71" fmla="*/ 10 h 37"/>
                <a:gd name="T72" fmla="*/ 96 w 96"/>
                <a:gd name="T73" fmla="*/ 7 h 37"/>
                <a:gd name="T74" fmla="*/ 93 w 96"/>
                <a:gd name="T75" fmla="*/ 2 h 37"/>
                <a:gd name="T76" fmla="*/ 90 w 96"/>
                <a:gd name="T77" fmla="*/ 1 h 37"/>
                <a:gd name="T78" fmla="*/ 86 w 96"/>
                <a:gd name="T79" fmla="*/ 0 h 37"/>
                <a:gd name="T80" fmla="*/ 86 w 96"/>
                <a:gd name="T8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37">
                  <a:moveTo>
                    <a:pt x="86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2" y="18"/>
                  </a:lnTo>
                  <a:lnTo>
                    <a:pt x="5" y="20"/>
                  </a:lnTo>
                  <a:lnTo>
                    <a:pt x="10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7" y="24"/>
                  </a:lnTo>
                  <a:lnTo>
                    <a:pt x="28" y="27"/>
                  </a:lnTo>
                  <a:lnTo>
                    <a:pt x="33" y="33"/>
                  </a:lnTo>
                  <a:lnTo>
                    <a:pt x="40" y="35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57" y="35"/>
                  </a:lnTo>
                  <a:lnTo>
                    <a:pt x="64" y="33"/>
                  </a:lnTo>
                  <a:lnTo>
                    <a:pt x="69" y="27"/>
                  </a:lnTo>
                  <a:lnTo>
                    <a:pt x="70" y="24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90" y="20"/>
                  </a:lnTo>
                  <a:lnTo>
                    <a:pt x="93" y="18"/>
                  </a:lnTo>
                  <a:lnTo>
                    <a:pt x="96" y="14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7"/>
                  </a:lnTo>
                  <a:lnTo>
                    <a:pt x="93" y="2"/>
                  </a:lnTo>
                  <a:lnTo>
                    <a:pt x="90" y="1"/>
                  </a:lnTo>
                  <a:lnTo>
                    <a:pt x="86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90" name="Freeform 216"/>
            <p:cNvSpPr>
              <a:spLocks noEditPoints="1"/>
            </p:cNvSpPr>
            <p:nvPr/>
          </p:nvSpPr>
          <p:spPr bwMode="auto">
            <a:xfrm>
              <a:off x="7430963" y="4058269"/>
              <a:ext cx="271463" cy="300038"/>
            </a:xfrm>
            <a:custGeom>
              <a:avLst/>
              <a:gdLst>
                <a:gd name="T0" fmla="*/ 86 w 171"/>
                <a:gd name="T1" fmla="*/ 0 h 189"/>
                <a:gd name="T2" fmla="*/ 86 w 171"/>
                <a:gd name="T3" fmla="*/ 0 h 189"/>
                <a:gd name="T4" fmla="*/ 69 w 171"/>
                <a:gd name="T5" fmla="*/ 1 h 189"/>
                <a:gd name="T6" fmla="*/ 52 w 171"/>
                <a:gd name="T7" fmla="*/ 5 h 189"/>
                <a:gd name="T8" fmla="*/ 38 w 171"/>
                <a:gd name="T9" fmla="*/ 14 h 189"/>
                <a:gd name="T10" fmla="*/ 25 w 171"/>
                <a:gd name="T11" fmla="*/ 24 h 189"/>
                <a:gd name="T12" fmla="*/ 15 w 171"/>
                <a:gd name="T13" fmla="*/ 37 h 189"/>
                <a:gd name="T14" fmla="*/ 7 w 171"/>
                <a:gd name="T15" fmla="*/ 51 h 189"/>
                <a:gd name="T16" fmla="*/ 5 w 171"/>
                <a:gd name="T17" fmla="*/ 59 h 189"/>
                <a:gd name="T18" fmla="*/ 2 w 171"/>
                <a:gd name="T19" fmla="*/ 67 h 189"/>
                <a:gd name="T20" fmla="*/ 0 w 171"/>
                <a:gd name="T21" fmla="*/ 76 h 189"/>
                <a:gd name="T22" fmla="*/ 0 w 171"/>
                <a:gd name="T23" fmla="*/ 84 h 189"/>
                <a:gd name="T24" fmla="*/ 0 w 171"/>
                <a:gd name="T25" fmla="*/ 84 h 189"/>
                <a:gd name="T26" fmla="*/ 2 w 171"/>
                <a:gd name="T27" fmla="*/ 99 h 189"/>
                <a:gd name="T28" fmla="*/ 6 w 171"/>
                <a:gd name="T29" fmla="*/ 113 h 189"/>
                <a:gd name="T30" fmla="*/ 12 w 171"/>
                <a:gd name="T31" fmla="*/ 125 h 189"/>
                <a:gd name="T32" fmla="*/ 19 w 171"/>
                <a:gd name="T33" fmla="*/ 138 h 189"/>
                <a:gd name="T34" fmla="*/ 26 w 171"/>
                <a:gd name="T35" fmla="*/ 149 h 189"/>
                <a:gd name="T36" fmla="*/ 32 w 171"/>
                <a:gd name="T37" fmla="*/ 161 h 189"/>
                <a:gd name="T38" fmla="*/ 36 w 171"/>
                <a:gd name="T39" fmla="*/ 175 h 189"/>
                <a:gd name="T40" fmla="*/ 38 w 171"/>
                <a:gd name="T41" fmla="*/ 189 h 189"/>
                <a:gd name="T42" fmla="*/ 135 w 171"/>
                <a:gd name="T43" fmla="*/ 189 h 189"/>
                <a:gd name="T44" fmla="*/ 135 w 171"/>
                <a:gd name="T45" fmla="*/ 189 h 189"/>
                <a:gd name="T46" fmla="*/ 137 w 171"/>
                <a:gd name="T47" fmla="*/ 174 h 189"/>
                <a:gd name="T48" fmla="*/ 141 w 171"/>
                <a:gd name="T49" fmla="*/ 161 h 189"/>
                <a:gd name="T50" fmla="*/ 147 w 171"/>
                <a:gd name="T51" fmla="*/ 148 h 189"/>
                <a:gd name="T52" fmla="*/ 154 w 171"/>
                <a:gd name="T53" fmla="*/ 136 h 189"/>
                <a:gd name="T54" fmla="*/ 160 w 171"/>
                <a:gd name="T55" fmla="*/ 125 h 189"/>
                <a:gd name="T56" fmla="*/ 167 w 171"/>
                <a:gd name="T57" fmla="*/ 112 h 189"/>
                <a:gd name="T58" fmla="*/ 170 w 171"/>
                <a:gd name="T59" fmla="*/ 99 h 189"/>
                <a:gd name="T60" fmla="*/ 171 w 171"/>
                <a:gd name="T61" fmla="*/ 84 h 189"/>
                <a:gd name="T62" fmla="*/ 171 w 171"/>
                <a:gd name="T63" fmla="*/ 84 h 189"/>
                <a:gd name="T64" fmla="*/ 171 w 171"/>
                <a:gd name="T65" fmla="*/ 76 h 189"/>
                <a:gd name="T66" fmla="*/ 170 w 171"/>
                <a:gd name="T67" fmla="*/ 67 h 189"/>
                <a:gd name="T68" fmla="*/ 166 w 171"/>
                <a:gd name="T69" fmla="*/ 51 h 189"/>
                <a:gd name="T70" fmla="*/ 157 w 171"/>
                <a:gd name="T71" fmla="*/ 37 h 189"/>
                <a:gd name="T72" fmla="*/ 147 w 171"/>
                <a:gd name="T73" fmla="*/ 24 h 189"/>
                <a:gd name="T74" fmla="*/ 134 w 171"/>
                <a:gd name="T75" fmla="*/ 14 h 189"/>
                <a:gd name="T76" fmla="*/ 120 w 171"/>
                <a:gd name="T77" fmla="*/ 5 h 189"/>
                <a:gd name="T78" fmla="*/ 104 w 171"/>
                <a:gd name="T79" fmla="*/ 1 h 189"/>
                <a:gd name="T80" fmla="*/ 86 w 171"/>
                <a:gd name="T81" fmla="*/ 0 h 189"/>
                <a:gd name="T82" fmla="*/ 86 w 171"/>
                <a:gd name="T83" fmla="*/ 0 h 189"/>
                <a:gd name="T84" fmla="*/ 108 w 171"/>
                <a:gd name="T85" fmla="*/ 116 h 189"/>
                <a:gd name="T86" fmla="*/ 86 w 171"/>
                <a:gd name="T87" fmla="*/ 103 h 189"/>
                <a:gd name="T88" fmla="*/ 63 w 171"/>
                <a:gd name="T89" fmla="*/ 116 h 189"/>
                <a:gd name="T90" fmla="*/ 69 w 171"/>
                <a:gd name="T91" fmla="*/ 92 h 189"/>
                <a:gd name="T92" fmla="*/ 51 w 171"/>
                <a:gd name="T93" fmla="*/ 74 h 189"/>
                <a:gd name="T94" fmla="*/ 75 w 171"/>
                <a:gd name="T95" fmla="*/ 72 h 189"/>
                <a:gd name="T96" fmla="*/ 86 w 171"/>
                <a:gd name="T97" fmla="*/ 49 h 189"/>
                <a:gd name="T98" fmla="*/ 97 w 171"/>
                <a:gd name="T99" fmla="*/ 72 h 189"/>
                <a:gd name="T100" fmla="*/ 121 w 171"/>
                <a:gd name="T101" fmla="*/ 74 h 189"/>
                <a:gd name="T102" fmla="*/ 102 w 171"/>
                <a:gd name="T103" fmla="*/ 92 h 189"/>
                <a:gd name="T104" fmla="*/ 108 w 171"/>
                <a:gd name="T105" fmla="*/ 11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1" h="189">
                  <a:moveTo>
                    <a:pt x="86" y="0"/>
                  </a:moveTo>
                  <a:lnTo>
                    <a:pt x="86" y="0"/>
                  </a:lnTo>
                  <a:lnTo>
                    <a:pt x="69" y="1"/>
                  </a:lnTo>
                  <a:lnTo>
                    <a:pt x="52" y="5"/>
                  </a:lnTo>
                  <a:lnTo>
                    <a:pt x="38" y="14"/>
                  </a:lnTo>
                  <a:lnTo>
                    <a:pt x="25" y="24"/>
                  </a:lnTo>
                  <a:lnTo>
                    <a:pt x="15" y="37"/>
                  </a:lnTo>
                  <a:lnTo>
                    <a:pt x="7" y="51"/>
                  </a:lnTo>
                  <a:lnTo>
                    <a:pt x="5" y="59"/>
                  </a:lnTo>
                  <a:lnTo>
                    <a:pt x="2" y="67"/>
                  </a:lnTo>
                  <a:lnTo>
                    <a:pt x="0" y="7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99"/>
                  </a:lnTo>
                  <a:lnTo>
                    <a:pt x="6" y="113"/>
                  </a:lnTo>
                  <a:lnTo>
                    <a:pt x="12" y="125"/>
                  </a:lnTo>
                  <a:lnTo>
                    <a:pt x="19" y="138"/>
                  </a:lnTo>
                  <a:lnTo>
                    <a:pt x="26" y="149"/>
                  </a:lnTo>
                  <a:lnTo>
                    <a:pt x="32" y="161"/>
                  </a:lnTo>
                  <a:lnTo>
                    <a:pt x="36" y="175"/>
                  </a:lnTo>
                  <a:lnTo>
                    <a:pt x="38" y="189"/>
                  </a:lnTo>
                  <a:lnTo>
                    <a:pt x="135" y="189"/>
                  </a:lnTo>
                  <a:lnTo>
                    <a:pt x="135" y="189"/>
                  </a:lnTo>
                  <a:lnTo>
                    <a:pt x="137" y="174"/>
                  </a:lnTo>
                  <a:lnTo>
                    <a:pt x="141" y="161"/>
                  </a:lnTo>
                  <a:lnTo>
                    <a:pt x="147" y="148"/>
                  </a:lnTo>
                  <a:lnTo>
                    <a:pt x="154" y="136"/>
                  </a:lnTo>
                  <a:lnTo>
                    <a:pt x="160" y="125"/>
                  </a:lnTo>
                  <a:lnTo>
                    <a:pt x="167" y="112"/>
                  </a:lnTo>
                  <a:lnTo>
                    <a:pt x="170" y="99"/>
                  </a:lnTo>
                  <a:lnTo>
                    <a:pt x="171" y="84"/>
                  </a:lnTo>
                  <a:lnTo>
                    <a:pt x="171" y="84"/>
                  </a:lnTo>
                  <a:lnTo>
                    <a:pt x="171" y="76"/>
                  </a:lnTo>
                  <a:lnTo>
                    <a:pt x="170" y="67"/>
                  </a:lnTo>
                  <a:lnTo>
                    <a:pt x="166" y="51"/>
                  </a:lnTo>
                  <a:lnTo>
                    <a:pt x="157" y="37"/>
                  </a:lnTo>
                  <a:lnTo>
                    <a:pt x="147" y="24"/>
                  </a:lnTo>
                  <a:lnTo>
                    <a:pt x="134" y="14"/>
                  </a:lnTo>
                  <a:lnTo>
                    <a:pt x="120" y="5"/>
                  </a:lnTo>
                  <a:lnTo>
                    <a:pt x="104" y="1"/>
                  </a:lnTo>
                  <a:lnTo>
                    <a:pt x="86" y="0"/>
                  </a:lnTo>
                  <a:lnTo>
                    <a:pt x="86" y="0"/>
                  </a:lnTo>
                  <a:close/>
                  <a:moveTo>
                    <a:pt x="108" y="116"/>
                  </a:moveTo>
                  <a:lnTo>
                    <a:pt x="86" y="103"/>
                  </a:lnTo>
                  <a:lnTo>
                    <a:pt x="63" y="116"/>
                  </a:lnTo>
                  <a:lnTo>
                    <a:pt x="69" y="92"/>
                  </a:lnTo>
                  <a:lnTo>
                    <a:pt x="51" y="74"/>
                  </a:lnTo>
                  <a:lnTo>
                    <a:pt x="75" y="72"/>
                  </a:lnTo>
                  <a:lnTo>
                    <a:pt x="86" y="49"/>
                  </a:lnTo>
                  <a:lnTo>
                    <a:pt x="97" y="72"/>
                  </a:lnTo>
                  <a:lnTo>
                    <a:pt x="121" y="74"/>
                  </a:lnTo>
                  <a:lnTo>
                    <a:pt x="102" y="92"/>
                  </a:lnTo>
                  <a:lnTo>
                    <a:pt x="108" y="1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91" name="Freeform 217"/>
            <p:cNvSpPr>
              <a:spLocks/>
            </p:cNvSpPr>
            <p:nvPr/>
          </p:nvSpPr>
          <p:spPr bwMode="auto">
            <a:xfrm>
              <a:off x="7491288" y="4372594"/>
              <a:ext cx="152400" cy="22225"/>
            </a:xfrm>
            <a:custGeom>
              <a:avLst/>
              <a:gdLst>
                <a:gd name="T0" fmla="*/ 7 w 96"/>
                <a:gd name="T1" fmla="*/ 14 h 14"/>
                <a:gd name="T2" fmla="*/ 89 w 96"/>
                <a:gd name="T3" fmla="*/ 14 h 14"/>
                <a:gd name="T4" fmla="*/ 89 w 96"/>
                <a:gd name="T5" fmla="*/ 14 h 14"/>
                <a:gd name="T6" fmla="*/ 92 w 96"/>
                <a:gd name="T7" fmla="*/ 13 h 14"/>
                <a:gd name="T8" fmla="*/ 94 w 96"/>
                <a:gd name="T9" fmla="*/ 11 h 14"/>
                <a:gd name="T10" fmla="*/ 96 w 96"/>
                <a:gd name="T11" fmla="*/ 10 h 14"/>
                <a:gd name="T12" fmla="*/ 96 w 96"/>
                <a:gd name="T13" fmla="*/ 7 h 14"/>
                <a:gd name="T14" fmla="*/ 96 w 96"/>
                <a:gd name="T15" fmla="*/ 7 h 14"/>
                <a:gd name="T16" fmla="*/ 96 w 96"/>
                <a:gd name="T17" fmla="*/ 4 h 14"/>
                <a:gd name="T18" fmla="*/ 94 w 96"/>
                <a:gd name="T19" fmla="*/ 1 h 14"/>
                <a:gd name="T20" fmla="*/ 92 w 96"/>
                <a:gd name="T21" fmla="*/ 0 h 14"/>
                <a:gd name="T22" fmla="*/ 89 w 96"/>
                <a:gd name="T23" fmla="*/ 0 h 14"/>
                <a:gd name="T24" fmla="*/ 7 w 96"/>
                <a:gd name="T25" fmla="*/ 0 h 14"/>
                <a:gd name="T26" fmla="*/ 7 w 96"/>
                <a:gd name="T27" fmla="*/ 0 h 14"/>
                <a:gd name="T28" fmla="*/ 4 w 96"/>
                <a:gd name="T29" fmla="*/ 0 h 14"/>
                <a:gd name="T30" fmla="*/ 1 w 96"/>
                <a:gd name="T31" fmla="*/ 1 h 14"/>
                <a:gd name="T32" fmla="*/ 0 w 96"/>
                <a:gd name="T33" fmla="*/ 4 h 14"/>
                <a:gd name="T34" fmla="*/ 0 w 96"/>
                <a:gd name="T35" fmla="*/ 7 h 14"/>
                <a:gd name="T36" fmla="*/ 0 w 96"/>
                <a:gd name="T37" fmla="*/ 7 h 14"/>
                <a:gd name="T38" fmla="*/ 0 w 96"/>
                <a:gd name="T39" fmla="*/ 10 h 14"/>
                <a:gd name="T40" fmla="*/ 1 w 96"/>
                <a:gd name="T41" fmla="*/ 11 h 14"/>
                <a:gd name="T42" fmla="*/ 4 w 96"/>
                <a:gd name="T43" fmla="*/ 13 h 14"/>
                <a:gd name="T44" fmla="*/ 7 w 96"/>
                <a:gd name="T45" fmla="*/ 14 h 14"/>
                <a:gd name="T46" fmla="*/ 7 w 96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14">
                  <a:moveTo>
                    <a:pt x="7" y="14"/>
                  </a:moveTo>
                  <a:lnTo>
                    <a:pt x="89" y="14"/>
                  </a:lnTo>
                  <a:lnTo>
                    <a:pt x="89" y="14"/>
                  </a:lnTo>
                  <a:lnTo>
                    <a:pt x="92" y="13"/>
                  </a:lnTo>
                  <a:lnTo>
                    <a:pt x="94" y="11"/>
                  </a:lnTo>
                  <a:lnTo>
                    <a:pt x="96" y="10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4"/>
                  </a:lnTo>
                  <a:lnTo>
                    <a:pt x="94" y="1"/>
                  </a:lnTo>
                  <a:lnTo>
                    <a:pt x="92" y="0"/>
                  </a:lnTo>
                  <a:lnTo>
                    <a:pt x="8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3"/>
                  </a:lnTo>
                  <a:lnTo>
                    <a:pt x="7" y="14"/>
                  </a:lnTo>
                  <a:lnTo>
                    <a:pt x="7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+mj-lt"/>
              </a:endParaRP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580409" y="1699057"/>
            <a:ext cx="4362412" cy="4322231"/>
            <a:chOff x="566986" y="1474016"/>
            <a:chExt cx="4362412" cy="4322231"/>
          </a:xfrm>
        </p:grpSpPr>
        <p:grpSp>
          <p:nvGrpSpPr>
            <p:cNvPr id="95" name="Group 94"/>
            <p:cNvGrpSpPr/>
            <p:nvPr/>
          </p:nvGrpSpPr>
          <p:grpSpPr>
            <a:xfrm>
              <a:off x="566986" y="1474016"/>
              <a:ext cx="4362412" cy="4322231"/>
              <a:chOff x="2685926" y="2842776"/>
              <a:chExt cx="4319240" cy="4322231"/>
            </a:xfrm>
          </p:grpSpPr>
          <p:sp>
            <p:nvSpPr>
              <p:cNvPr id="122" name="Freeform 128"/>
              <p:cNvSpPr>
                <a:spLocks/>
              </p:cNvSpPr>
              <p:nvPr/>
            </p:nvSpPr>
            <p:spPr bwMode="auto">
              <a:xfrm>
                <a:off x="2685926" y="2848594"/>
                <a:ext cx="2157413" cy="2157413"/>
              </a:xfrm>
              <a:custGeom>
                <a:avLst/>
                <a:gdLst>
                  <a:gd name="T0" fmla="*/ 1359 w 1359"/>
                  <a:gd name="T1" fmla="*/ 1053 h 1359"/>
                  <a:gd name="T2" fmla="*/ 1359 w 1359"/>
                  <a:gd name="T3" fmla="*/ 0 h 1359"/>
                  <a:gd name="T4" fmla="*/ 1197 w 1359"/>
                  <a:gd name="T5" fmla="*/ 0 h 1359"/>
                  <a:gd name="T6" fmla="*/ 1121 w 1359"/>
                  <a:gd name="T7" fmla="*/ 228 h 1359"/>
                  <a:gd name="T8" fmla="*/ 1121 w 1359"/>
                  <a:gd name="T9" fmla="*/ 228 h 1359"/>
                  <a:gd name="T10" fmla="*/ 1091 w 1359"/>
                  <a:gd name="T11" fmla="*/ 236 h 1359"/>
                  <a:gd name="T12" fmla="*/ 1060 w 1359"/>
                  <a:gd name="T13" fmla="*/ 244 h 1359"/>
                  <a:gd name="T14" fmla="*/ 1000 w 1359"/>
                  <a:gd name="T15" fmla="*/ 262 h 1359"/>
                  <a:gd name="T16" fmla="*/ 820 w 1359"/>
                  <a:gd name="T17" fmla="*/ 102 h 1359"/>
                  <a:gd name="T18" fmla="*/ 540 w 1359"/>
                  <a:gd name="T19" fmla="*/ 263 h 1359"/>
                  <a:gd name="T20" fmla="*/ 588 w 1359"/>
                  <a:gd name="T21" fmla="*/ 500 h 1359"/>
                  <a:gd name="T22" fmla="*/ 588 w 1359"/>
                  <a:gd name="T23" fmla="*/ 500 h 1359"/>
                  <a:gd name="T24" fmla="*/ 542 w 1359"/>
                  <a:gd name="T25" fmla="*/ 543 h 1359"/>
                  <a:gd name="T26" fmla="*/ 500 w 1359"/>
                  <a:gd name="T27" fmla="*/ 588 h 1359"/>
                  <a:gd name="T28" fmla="*/ 263 w 1359"/>
                  <a:gd name="T29" fmla="*/ 540 h 1359"/>
                  <a:gd name="T30" fmla="*/ 102 w 1359"/>
                  <a:gd name="T31" fmla="*/ 821 h 1359"/>
                  <a:gd name="T32" fmla="*/ 261 w 1359"/>
                  <a:gd name="T33" fmla="*/ 1000 h 1359"/>
                  <a:gd name="T34" fmla="*/ 261 w 1359"/>
                  <a:gd name="T35" fmla="*/ 1000 h 1359"/>
                  <a:gd name="T36" fmla="*/ 243 w 1359"/>
                  <a:gd name="T37" fmla="*/ 1061 h 1359"/>
                  <a:gd name="T38" fmla="*/ 236 w 1359"/>
                  <a:gd name="T39" fmla="*/ 1091 h 1359"/>
                  <a:gd name="T40" fmla="*/ 228 w 1359"/>
                  <a:gd name="T41" fmla="*/ 1122 h 1359"/>
                  <a:gd name="T42" fmla="*/ 0 w 1359"/>
                  <a:gd name="T43" fmla="*/ 1199 h 1359"/>
                  <a:gd name="T44" fmla="*/ 0 w 1359"/>
                  <a:gd name="T45" fmla="*/ 1359 h 1359"/>
                  <a:gd name="T46" fmla="*/ 1053 w 1359"/>
                  <a:gd name="T47" fmla="*/ 1359 h 1359"/>
                  <a:gd name="T48" fmla="*/ 1053 w 1359"/>
                  <a:gd name="T49" fmla="*/ 1359 h 1359"/>
                  <a:gd name="T50" fmla="*/ 1055 w 1359"/>
                  <a:gd name="T51" fmla="*/ 1329 h 1359"/>
                  <a:gd name="T52" fmla="*/ 1059 w 1359"/>
                  <a:gd name="T53" fmla="*/ 1298 h 1359"/>
                  <a:gd name="T54" fmla="*/ 1068 w 1359"/>
                  <a:gd name="T55" fmla="*/ 1269 h 1359"/>
                  <a:gd name="T56" fmla="*/ 1078 w 1359"/>
                  <a:gd name="T57" fmla="*/ 1240 h 1359"/>
                  <a:gd name="T58" fmla="*/ 1091 w 1359"/>
                  <a:gd name="T59" fmla="*/ 1214 h 1359"/>
                  <a:gd name="T60" fmla="*/ 1105 w 1359"/>
                  <a:gd name="T61" fmla="*/ 1188 h 1359"/>
                  <a:gd name="T62" fmla="*/ 1124 w 1359"/>
                  <a:gd name="T63" fmla="*/ 1165 h 1359"/>
                  <a:gd name="T64" fmla="*/ 1142 w 1359"/>
                  <a:gd name="T65" fmla="*/ 1144 h 1359"/>
                  <a:gd name="T66" fmla="*/ 1165 w 1359"/>
                  <a:gd name="T67" fmla="*/ 1124 h 1359"/>
                  <a:gd name="T68" fmla="*/ 1188 w 1359"/>
                  <a:gd name="T69" fmla="*/ 1107 h 1359"/>
                  <a:gd name="T70" fmla="*/ 1213 w 1359"/>
                  <a:gd name="T71" fmla="*/ 1091 h 1359"/>
                  <a:gd name="T72" fmla="*/ 1240 w 1359"/>
                  <a:gd name="T73" fmla="*/ 1078 h 1359"/>
                  <a:gd name="T74" fmla="*/ 1269 w 1359"/>
                  <a:gd name="T75" fmla="*/ 1068 h 1359"/>
                  <a:gd name="T76" fmla="*/ 1298 w 1359"/>
                  <a:gd name="T77" fmla="*/ 1061 h 1359"/>
                  <a:gd name="T78" fmla="*/ 1328 w 1359"/>
                  <a:gd name="T79" fmla="*/ 1056 h 1359"/>
                  <a:gd name="T80" fmla="*/ 1359 w 1359"/>
                  <a:gd name="T81" fmla="*/ 1053 h 1359"/>
                  <a:gd name="T82" fmla="*/ 1359 w 1359"/>
                  <a:gd name="T83" fmla="*/ 1053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59" h="1359">
                    <a:moveTo>
                      <a:pt x="1359" y="1053"/>
                    </a:moveTo>
                    <a:lnTo>
                      <a:pt x="1359" y="0"/>
                    </a:lnTo>
                    <a:lnTo>
                      <a:pt x="1197" y="0"/>
                    </a:lnTo>
                    <a:lnTo>
                      <a:pt x="1121" y="228"/>
                    </a:lnTo>
                    <a:lnTo>
                      <a:pt x="1121" y="228"/>
                    </a:lnTo>
                    <a:lnTo>
                      <a:pt x="1091" y="236"/>
                    </a:lnTo>
                    <a:lnTo>
                      <a:pt x="1060" y="244"/>
                    </a:lnTo>
                    <a:lnTo>
                      <a:pt x="1000" y="262"/>
                    </a:lnTo>
                    <a:lnTo>
                      <a:pt x="820" y="102"/>
                    </a:lnTo>
                    <a:lnTo>
                      <a:pt x="540" y="263"/>
                    </a:lnTo>
                    <a:lnTo>
                      <a:pt x="588" y="500"/>
                    </a:lnTo>
                    <a:lnTo>
                      <a:pt x="588" y="500"/>
                    </a:lnTo>
                    <a:lnTo>
                      <a:pt x="542" y="543"/>
                    </a:lnTo>
                    <a:lnTo>
                      <a:pt x="500" y="588"/>
                    </a:lnTo>
                    <a:lnTo>
                      <a:pt x="263" y="540"/>
                    </a:lnTo>
                    <a:lnTo>
                      <a:pt x="102" y="821"/>
                    </a:lnTo>
                    <a:lnTo>
                      <a:pt x="261" y="1000"/>
                    </a:lnTo>
                    <a:lnTo>
                      <a:pt x="261" y="1000"/>
                    </a:lnTo>
                    <a:lnTo>
                      <a:pt x="243" y="1061"/>
                    </a:lnTo>
                    <a:lnTo>
                      <a:pt x="236" y="1091"/>
                    </a:lnTo>
                    <a:lnTo>
                      <a:pt x="228" y="1122"/>
                    </a:lnTo>
                    <a:lnTo>
                      <a:pt x="0" y="1199"/>
                    </a:lnTo>
                    <a:lnTo>
                      <a:pt x="0" y="1359"/>
                    </a:lnTo>
                    <a:lnTo>
                      <a:pt x="1053" y="1359"/>
                    </a:lnTo>
                    <a:lnTo>
                      <a:pt x="1053" y="1359"/>
                    </a:lnTo>
                    <a:lnTo>
                      <a:pt x="1055" y="1329"/>
                    </a:lnTo>
                    <a:lnTo>
                      <a:pt x="1059" y="1298"/>
                    </a:lnTo>
                    <a:lnTo>
                      <a:pt x="1068" y="1269"/>
                    </a:lnTo>
                    <a:lnTo>
                      <a:pt x="1078" y="1240"/>
                    </a:lnTo>
                    <a:lnTo>
                      <a:pt x="1091" y="1214"/>
                    </a:lnTo>
                    <a:lnTo>
                      <a:pt x="1105" y="1188"/>
                    </a:lnTo>
                    <a:lnTo>
                      <a:pt x="1124" y="1165"/>
                    </a:lnTo>
                    <a:lnTo>
                      <a:pt x="1142" y="1144"/>
                    </a:lnTo>
                    <a:lnTo>
                      <a:pt x="1165" y="1124"/>
                    </a:lnTo>
                    <a:lnTo>
                      <a:pt x="1188" y="1107"/>
                    </a:lnTo>
                    <a:lnTo>
                      <a:pt x="1213" y="1091"/>
                    </a:lnTo>
                    <a:lnTo>
                      <a:pt x="1240" y="1078"/>
                    </a:lnTo>
                    <a:lnTo>
                      <a:pt x="1269" y="1068"/>
                    </a:lnTo>
                    <a:lnTo>
                      <a:pt x="1298" y="1061"/>
                    </a:lnTo>
                    <a:lnTo>
                      <a:pt x="1328" y="1056"/>
                    </a:lnTo>
                    <a:lnTo>
                      <a:pt x="1359" y="1053"/>
                    </a:lnTo>
                    <a:lnTo>
                      <a:pt x="1359" y="1053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3" name="Freeform 129"/>
              <p:cNvSpPr>
                <a:spLocks/>
              </p:cNvSpPr>
              <p:nvPr/>
            </p:nvSpPr>
            <p:spPr bwMode="auto">
              <a:xfrm>
                <a:off x="4835906" y="2842776"/>
                <a:ext cx="2159000" cy="2157413"/>
              </a:xfrm>
              <a:custGeom>
                <a:avLst/>
                <a:gdLst>
                  <a:gd name="T0" fmla="*/ 1098 w 1360"/>
                  <a:gd name="T1" fmla="*/ 1000 h 1359"/>
                  <a:gd name="T2" fmla="*/ 1258 w 1360"/>
                  <a:gd name="T3" fmla="*/ 821 h 1359"/>
                  <a:gd name="T4" fmla="*/ 1097 w 1360"/>
                  <a:gd name="T5" fmla="*/ 540 h 1359"/>
                  <a:gd name="T6" fmla="*/ 860 w 1360"/>
                  <a:gd name="T7" fmla="*/ 588 h 1359"/>
                  <a:gd name="T8" fmla="*/ 860 w 1360"/>
                  <a:gd name="T9" fmla="*/ 588 h 1359"/>
                  <a:gd name="T10" fmla="*/ 817 w 1360"/>
                  <a:gd name="T11" fmla="*/ 543 h 1359"/>
                  <a:gd name="T12" fmla="*/ 772 w 1360"/>
                  <a:gd name="T13" fmla="*/ 500 h 1359"/>
                  <a:gd name="T14" fmla="*/ 820 w 1360"/>
                  <a:gd name="T15" fmla="*/ 263 h 1359"/>
                  <a:gd name="T16" fmla="*/ 539 w 1360"/>
                  <a:gd name="T17" fmla="*/ 102 h 1359"/>
                  <a:gd name="T18" fmla="*/ 360 w 1360"/>
                  <a:gd name="T19" fmla="*/ 262 h 1359"/>
                  <a:gd name="T20" fmla="*/ 360 w 1360"/>
                  <a:gd name="T21" fmla="*/ 262 h 1359"/>
                  <a:gd name="T22" fmla="*/ 299 w 1360"/>
                  <a:gd name="T23" fmla="*/ 244 h 1359"/>
                  <a:gd name="T24" fmla="*/ 269 w 1360"/>
                  <a:gd name="T25" fmla="*/ 236 h 1359"/>
                  <a:gd name="T26" fmla="*/ 239 w 1360"/>
                  <a:gd name="T27" fmla="*/ 228 h 1359"/>
                  <a:gd name="T28" fmla="*/ 163 w 1360"/>
                  <a:gd name="T29" fmla="*/ 0 h 1359"/>
                  <a:gd name="T30" fmla="*/ 0 w 1360"/>
                  <a:gd name="T31" fmla="*/ 0 h 1359"/>
                  <a:gd name="T32" fmla="*/ 0 w 1360"/>
                  <a:gd name="T33" fmla="*/ 1053 h 1359"/>
                  <a:gd name="T34" fmla="*/ 0 w 1360"/>
                  <a:gd name="T35" fmla="*/ 1053 h 1359"/>
                  <a:gd name="T36" fmla="*/ 32 w 1360"/>
                  <a:gd name="T37" fmla="*/ 1056 h 1359"/>
                  <a:gd name="T38" fmla="*/ 62 w 1360"/>
                  <a:gd name="T39" fmla="*/ 1061 h 1359"/>
                  <a:gd name="T40" fmla="*/ 91 w 1360"/>
                  <a:gd name="T41" fmla="*/ 1068 h 1359"/>
                  <a:gd name="T42" fmla="*/ 120 w 1360"/>
                  <a:gd name="T43" fmla="*/ 1078 h 1359"/>
                  <a:gd name="T44" fmla="*/ 146 w 1360"/>
                  <a:gd name="T45" fmla="*/ 1091 h 1359"/>
                  <a:gd name="T46" fmla="*/ 171 w 1360"/>
                  <a:gd name="T47" fmla="*/ 1107 h 1359"/>
                  <a:gd name="T48" fmla="*/ 194 w 1360"/>
                  <a:gd name="T49" fmla="*/ 1124 h 1359"/>
                  <a:gd name="T50" fmla="*/ 216 w 1360"/>
                  <a:gd name="T51" fmla="*/ 1144 h 1359"/>
                  <a:gd name="T52" fmla="*/ 236 w 1360"/>
                  <a:gd name="T53" fmla="*/ 1165 h 1359"/>
                  <a:gd name="T54" fmla="*/ 253 w 1360"/>
                  <a:gd name="T55" fmla="*/ 1188 h 1359"/>
                  <a:gd name="T56" fmla="*/ 269 w 1360"/>
                  <a:gd name="T57" fmla="*/ 1214 h 1359"/>
                  <a:gd name="T58" fmla="*/ 282 w 1360"/>
                  <a:gd name="T59" fmla="*/ 1240 h 1359"/>
                  <a:gd name="T60" fmla="*/ 292 w 1360"/>
                  <a:gd name="T61" fmla="*/ 1269 h 1359"/>
                  <a:gd name="T62" fmla="*/ 299 w 1360"/>
                  <a:gd name="T63" fmla="*/ 1298 h 1359"/>
                  <a:gd name="T64" fmla="*/ 305 w 1360"/>
                  <a:gd name="T65" fmla="*/ 1329 h 1359"/>
                  <a:gd name="T66" fmla="*/ 307 w 1360"/>
                  <a:gd name="T67" fmla="*/ 1359 h 1359"/>
                  <a:gd name="T68" fmla="*/ 1360 w 1360"/>
                  <a:gd name="T69" fmla="*/ 1359 h 1359"/>
                  <a:gd name="T70" fmla="*/ 1360 w 1360"/>
                  <a:gd name="T71" fmla="*/ 1199 h 1359"/>
                  <a:gd name="T72" fmla="*/ 1132 w 1360"/>
                  <a:gd name="T73" fmla="*/ 1122 h 1359"/>
                  <a:gd name="T74" fmla="*/ 1132 w 1360"/>
                  <a:gd name="T75" fmla="*/ 1122 h 1359"/>
                  <a:gd name="T76" fmla="*/ 1124 w 1360"/>
                  <a:gd name="T77" fmla="*/ 1091 h 1359"/>
                  <a:gd name="T78" fmla="*/ 1117 w 1360"/>
                  <a:gd name="T79" fmla="*/ 1061 h 1359"/>
                  <a:gd name="T80" fmla="*/ 1109 w 1360"/>
                  <a:gd name="T81" fmla="*/ 1030 h 1359"/>
                  <a:gd name="T82" fmla="*/ 1098 w 1360"/>
                  <a:gd name="T83" fmla="*/ 1000 h 1359"/>
                  <a:gd name="T84" fmla="*/ 1098 w 1360"/>
                  <a:gd name="T85" fmla="*/ 100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0" h="1359">
                    <a:moveTo>
                      <a:pt x="1098" y="1000"/>
                    </a:moveTo>
                    <a:lnTo>
                      <a:pt x="1258" y="821"/>
                    </a:lnTo>
                    <a:lnTo>
                      <a:pt x="1097" y="540"/>
                    </a:lnTo>
                    <a:lnTo>
                      <a:pt x="860" y="588"/>
                    </a:lnTo>
                    <a:lnTo>
                      <a:pt x="860" y="588"/>
                    </a:lnTo>
                    <a:lnTo>
                      <a:pt x="817" y="543"/>
                    </a:lnTo>
                    <a:lnTo>
                      <a:pt x="772" y="500"/>
                    </a:lnTo>
                    <a:lnTo>
                      <a:pt x="820" y="263"/>
                    </a:lnTo>
                    <a:lnTo>
                      <a:pt x="539" y="102"/>
                    </a:lnTo>
                    <a:lnTo>
                      <a:pt x="360" y="262"/>
                    </a:lnTo>
                    <a:lnTo>
                      <a:pt x="360" y="262"/>
                    </a:lnTo>
                    <a:lnTo>
                      <a:pt x="299" y="244"/>
                    </a:lnTo>
                    <a:lnTo>
                      <a:pt x="269" y="236"/>
                    </a:lnTo>
                    <a:lnTo>
                      <a:pt x="239" y="228"/>
                    </a:lnTo>
                    <a:lnTo>
                      <a:pt x="163" y="0"/>
                    </a:lnTo>
                    <a:lnTo>
                      <a:pt x="0" y="0"/>
                    </a:lnTo>
                    <a:lnTo>
                      <a:pt x="0" y="1053"/>
                    </a:lnTo>
                    <a:lnTo>
                      <a:pt x="0" y="1053"/>
                    </a:lnTo>
                    <a:lnTo>
                      <a:pt x="32" y="1056"/>
                    </a:lnTo>
                    <a:lnTo>
                      <a:pt x="62" y="1061"/>
                    </a:lnTo>
                    <a:lnTo>
                      <a:pt x="91" y="1068"/>
                    </a:lnTo>
                    <a:lnTo>
                      <a:pt x="120" y="1078"/>
                    </a:lnTo>
                    <a:lnTo>
                      <a:pt x="146" y="1091"/>
                    </a:lnTo>
                    <a:lnTo>
                      <a:pt x="171" y="1107"/>
                    </a:lnTo>
                    <a:lnTo>
                      <a:pt x="194" y="1124"/>
                    </a:lnTo>
                    <a:lnTo>
                      <a:pt x="216" y="1144"/>
                    </a:lnTo>
                    <a:lnTo>
                      <a:pt x="236" y="1165"/>
                    </a:lnTo>
                    <a:lnTo>
                      <a:pt x="253" y="1188"/>
                    </a:lnTo>
                    <a:lnTo>
                      <a:pt x="269" y="1214"/>
                    </a:lnTo>
                    <a:lnTo>
                      <a:pt x="282" y="1240"/>
                    </a:lnTo>
                    <a:lnTo>
                      <a:pt x="292" y="1269"/>
                    </a:lnTo>
                    <a:lnTo>
                      <a:pt x="299" y="1298"/>
                    </a:lnTo>
                    <a:lnTo>
                      <a:pt x="305" y="1329"/>
                    </a:lnTo>
                    <a:lnTo>
                      <a:pt x="307" y="1359"/>
                    </a:lnTo>
                    <a:lnTo>
                      <a:pt x="1360" y="1359"/>
                    </a:lnTo>
                    <a:lnTo>
                      <a:pt x="1360" y="1199"/>
                    </a:lnTo>
                    <a:lnTo>
                      <a:pt x="1132" y="1122"/>
                    </a:lnTo>
                    <a:lnTo>
                      <a:pt x="1132" y="1122"/>
                    </a:lnTo>
                    <a:lnTo>
                      <a:pt x="1124" y="1091"/>
                    </a:lnTo>
                    <a:lnTo>
                      <a:pt x="1117" y="1061"/>
                    </a:lnTo>
                    <a:lnTo>
                      <a:pt x="1109" y="1030"/>
                    </a:lnTo>
                    <a:lnTo>
                      <a:pt x="1098" y="1000"/>
                    </a:lnTo>
                    <a:lnTo>
                      <a:pt x="1098" y="100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4" name="Freeform 130"/>
              <p:cNvSpPr>
                <a:spLocks/>
              </p:cNvSpPr>
              <p:nvPr/>
            </p:nvSpPr>
            <p:spPr bwMode="auto">
              <a:xfrm>
                <a:off x="2685926" y="5006007"/>
                <a:ext cx="2157413" cy="2159000"/>
              </a:xfrm>
              <a:custGeom>
                <a:avLst/>
                <a:gdLst>
                  <a:gd name="T0" fmla="*/ 1053 w 1359"/>
                  <a:gd name="T1" fmla="*/ 0 h 1360"/>
                  <a:gd name="T2" fmla="*/ 0 w 1359"/>
                  <a:gd name="T3" fmla="*/ 0 h 1360"/>
                  <a:gd name="T4" fmla="*/ 0 w 1359"/>
                  <a:gd name="T5" fmla="*/ 163 h 1360"/>
                  <a:gd name="T6" fmla="*/ 228 w 1359"/>
                  <a:gd name="T7" fmla="*/ 239 h 1360"/>
                  <a:gd name="T8" fmla="*/ 228 w 1359"/>
                  <a:gd name="T9" fmla="*/ 239 h 1360"/>
                  <a:gd name="T10" fmla="*/ 236 w 1359"/>
                  <a:gd name="T11" fmla="*/ 269 h 1360"/>
                  <a:gd name="T12" fmla="*/ 243 w 1359"/>
                  <a:gd name="T13" fmla="*/ 301 h 1360"/>
                  <a:gd name="T14" fmla="*/ 261 w 1359"/>
                  <a:gd name="T15" fmla="*/ 360 h 1360"/>
                  <a:gd name="T16" fmla="*/ 102 w 1359"/>
                  <a:gd name="T17" fmla="*/ 541 h 1360"/>
                  <a:gd name="T18" fmla="*/ 263 w 1359"/>
                  <a:gd name="T19" fmla="*/ 821 h 1360"/>
                  <a:gd name="T20" fmla="*/ 500 w 1359"/>
                  <a:gd name="T21" fmla="*/ 772 h 1360"/>
                  <a:gd name="T22" fmla="*/ 500 w 1359"/>
                  <a:gd name="T23" fmla="*/ 772 h 1360"/>
                  <a:gd name="T24" fmla="*/ 542 w 1359"/>
                  <a:gd name="T25" fmla="*/ 818 h 1360"/>
                  <a:gd name="T26" fmla="*/ 588 w 1359"/>
                  <a:gd name="T27" fmla="*/ 861 h 1360"/>
                  <a:gd name="T28" fmla="*/ 540 w 1359"/>
                  <a:gd name="T29" fmla="*/ 1097 h 1360"/>
                  <a:gd name="T30" fmla="*/ 820 w 1359"/>
                  <a:gd name="T31" fmla="*/ 1259 h 1360"/>
                  <a:gd name="T32" fmla="*/ 1000 w 1359"/>
                  <a:gd name="T33" fmla="*/ 1098 h 1360"/>
                  <a:gd name="T34" fmla="*/ 1000 w 1359"/>
                  <a:gd name="T35" fmla="*/ 1098 h 1360"/>
                  <a:gd name="T36" fmla="*/ 1030 w 1359"/>
                  <a:gd name="T37" fmla="*/ 1109 h 1360"/>
                  <a:gd name="T38" fmla="*/ 1060 w 1359"/>
                  <a:gd name="T39" fmla="*/ 1117 h 1360"/>
                  <a:gd name="T40" fmla="*/ 1091 w 1359"/>
                  <a:gd name="T41" fmla="*/ 1124 h 1360"/>
                  <a:gd name="T42" fmla="*/ 1121 w 1359"/>
                  <a:gd name="T43" fmla="*/ 1131 h 1360"/>
                  <a:gd name="T44" fmla="*/ 1197 w 1359"/>
                  <a:gd name="T45" fmla="*/ 1360 h 1360"/>
                  <a:gd name="T46" fmla="*/ 1359 w 1359"/>
                  <a:gd name="T47" fmla="*/ 1360 h 1360"/>
                  <a:gd name="T48" fmla="*/ 1359 w 1359"/>
                  <a:gd name="T49" fmla="*/ 307 h 1360"/>
                  <a:gd name="T50" fmla="*/ 1359 w 1359"/>
                  <a:gd name="T51" fmla="*/ 307 h 1360"/>
                  <a:gd name="T52" fmla="*/ 1328 w 1359"/>
                  <a:gd name="T53" fmla="*/ 305 h 1360"/>
                  <a:gd name="T54" fmla="*/ 1298 w 1359"/>
                  <a:gd name="T55" fmla="*/ 301 h 1360"/>
                  <a:gd name="T56" fmla="*/ 1269 w 1359"/>
                  <a:gd name="T57" fmla="*/ 294 h 1360"/>
                  <a:gd name="T58" fmla="*/ 1240 w 1359"/>
                  <a:gd name="T59" fmla="*/ 282 h 1360"/>
                  <a:gd name="T60" fmla="*/ 1213 w 1359"/>
                  <a:gd name="T61" fmla="*/ 269 h 1360"/>
                  <a:gd name="T62" fmla="*/ 1188 w 1359"/>
                  <a:gd name="T63" fmla="*/ 255 h 1360"/>
                  <a:gd name="T64" fmla="*/ 1165 w 1359"/>
                  <a:gd name="T65" fmla="*/ 236 h 1360"/>
                  <a:gd name="T66" fmla="*/ 1142 w 1359"/>
                  <a:gd name="T67" fmla="*/ 217 h 1360"/>
                  <a:gd name="T68" fmla="*/ 1124 w 1359"/>
                  <a:gd name="T69" fmla="*/ 196 h 1360"/>
                  <a:gd name="T70" fmla="*/ 1105 w 1359"/>
                  <a:gd name="T71" fmla="*/ 172 h 1360"/>
                  <a:gd name="T72" fmla="*/ 1091 w 1359"/>
                  <a:gd name="T73" fmla="*/ 147 h 1360"/>
                  <a:gd name="T74" fmla="*/ 1078 w 1359"/>
                  <a:gd name="T75" fmla="*/ 120 h 1360"/>
                  <a:gd name="T76" fmla="*/ 1068 w 1359"/>
                  <a:gd name="T77" fmla="*/ 92 h 1360"/>
                  <a:gd name="T78" fmla="*/ 1059 w 1359"/>
                  <a:gd name="T79" fmla="*/ 62 h 1360"/>
                  <a:gd name="T80" fmla="*/ 1055 w 1359"/>
                  <a:gd name="T81" fmla="*/ 32 h 1360"/>
                  <a:gd name="T82" fmla="*/ 1053 w 1359"/>
                  <a:gd name="T83" fmla="*/ 0 h 1360"/>
                  <a:gd name="T84" fmla="*/ 1053 w 1359"/>
                  <a:gd name="T85" fmla="*/ 0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59" h="1360">
                    <a:moveTo>
                      <a:pt x="1053" y="0"/>
                    </a:moveTo>
                    <a:lnTo>
                      <a:pt x="0" y="0"/>
                    </a:lnTo>
                    <a:lnTo>
                      <a:pt x="0" y="163"/>
                    </a:lnTo>
                    <a:lnTo>
                      <a:pt x="228" y="239"/>
                    </a:lnTo>
                    <a:lnTo>
                      <a:pt x="228" y="239"/>
                    </a:lnTo>
                    <a:lnTo>
                      <a:pt x="236" y="269"/>
                    </a:lnTo>
                    <a:lnTo>
                      <a:pt x="243" y="301"/>
                    </a:lnTo>
                    <a:lnTo>
                      <a:pt x="261" y="360"/>
                    </a:lnTo>
                    <a:lnTo>
                      <a:pt x="102" y="541"/>
                    </a:lnTo>
                    <a:lnTo>
                      <a:pt x="263" y="821"/>
                    </a:lnTo>
                    <a:lnTo>
                      <a:pt x="500" y="772"/>
                    </a:lnTo>
                    <a:lnTo>
                      <a:pt x="500" y="772"/>
                    </a:lnTo>
                    <a:lnTo>
                      <a:pt x="542" y="818"/>
                    </a:lnTo>
                    <a:lnTo>
                      <a:pt x="588" y="861"/>
                    </a:lnTo>
                    <a:lnTo>
                      <a:pt x="540" y="1097"/>
                    </a:lnTo>
                    <a:lnTo>
                      <a:pt x="820" y="1259"/>
                    </a:lnTo>
                    <a:lnTo>
                      <a:pt x="1000" y="1098"/>
                    </a:lnTo>
                    <a:lnTo>
                      <a:pt x="1000" y="1098"/>
                    </a:lnTo>
                    <a:lnTo>
                      <a:pt x="1030" y="1109"/>
                    </a:lnTo>
                    <a:lnTo>
                      <a:pt x="1060" y="1117"/>
                    </a:lnTo>
                    <a:lnTo>
                      <a:pt x="1091" y="1124"/>
                    </a:lnTo>
                    <a:lnTo>
                      <a:pt x="1121" y="1131"/>
                    </a:lnTo>
                    <a:lnTo>
                      <a:pt x="1197" y="1360"/>
                    </a:lnTo>
                    <a:lnTo>
                      <a:pt x="1359" y="1360"/>
                    </a:lnTo>
                    <a:lnTo>
                      <a:pt x="1359" y="307"/>
                    </a:lnTo>
                    <a:lnTo>
                      <a:pt x="1359" y="307"/>
                    </a:lnTo>
                    <a:lnTo>
                      <a:pt x="1328" y="305"/>
                    </a:lnTo>
                    <a:lnTo>
                      <a:pt x="1298" y="301"/>
                    </a:lnTo>
                    <a:lnTo>
                      <a:pt x="1269" y="294"/>
                    </a:lnTo>
                    <a:lnTo>
                      <a:pt x="1240" y="282"/>
                    </a:lnTo>
                    <a:lnTo>
                      <a:pt x="1213" y="269"/>
                    </a:lnTo>
                    <a:lnTo>
                      <a:pt x="1188" y="255"/>
                    </a:lnTo>
                    <a:lnTo>
                      <a:pt x="1165" y="236"/>
                    </a:lnTo>
                    <a:lnTo>
                      <a:pt x="1142" y="217"/>
                    </a:lnTo>
                    <a:lnTo>
                      <a:pt x="1124" y="196"/>
                    </a:lnTo>
                    <a:lnTo>
                      <a:pt x="1105" y="172"/>
                    </a:lnTo>
                    <a:lnTo>
                      <a:pt x="1091" y="147"/>
                    </a:lnTo>
                    <a:lnTo>
                      <a:pt x="1078" y="120"/>
                    </a:lnTo>
                    <a:lnTo>
                      <a:pt x="1068" y="92"/>
                    </a:lnTo>
                    <a:lnTo>
                      <a:pt x="1059" y="62"/>
                    </a:lnTo>
                    <a:lnTo>
                      <a:pt x="1055" y="32"/>
                    </a:lnTo>
                    <a:lnTo>
                      <a:pt x="1053" y="0"/>
                    </a:lnTo>
                    <a:lnTo>
                      <a:pt x="1053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5" name="Freeform 131"/>
              <p:cNvSpPr>
                <a:spLocks/>
              </p:cNvSpPr>
              <p:nvPr/>
            </p:nvSpPr>
            <p:spPr bwMode="auto">
              <a:xfrm>
                <a:off x="4846166" y="5006007"/>
                <a:ext cx="2159000" cy="2159000"/>
              </a:xfrm>
              <a:custGeom>
                <a:avLst/>
                <a:gdLst>
                  <a:gd name="T0" fmla="*/ 0 w 1360"/>
                  <a:gd name="T1" fmla="*/ 307 h 1360"/>
                  <a:gd name="T2" fmla="*/ 0 w 1360"/>
                  <a:gd name="T3" fmla="*/ 1360 h 1360"/>
                  <a:gd name="T4" fmla="*/ 163 w 1360"/>
                  <a:gd name="T5" fmla="*/ 1360 h 1360"/>
                  <a:gd name="T6" fmla="*/ 239 w 1360"/>
                  <a:gd name="T7" fmla="*/ 1131 h 1360"/>
                  <a:gd name="T8" fmla="*/ 239 w 1360"/>
                  <a:gd name="T9" fmla="*/ 1131 h 1360"/>
                  <a:gd name="T10" fmla="*/ 269 w 1360"/>
                  <a:gd name="T11" fmla="*/ 1124 h 1360"/>
                  <a:gd name="T12" fmla="*/ 299 w 1360"/>
                  <a:gd name="T13" fmla="*/ 1117 h 1360"/>
                  <a:gd name="T14" fmla="*/ 330 w 1360"/>
                  <a:gd name="T15" fmla="*/ 1109 h 1360"/>
                  <a:gd name="T16" fmla="*/ 360 w 1360"/>
                  <a:gd name="T17" fmla="*/ 1098 h 1360"/>
                  <a:gd name="T18" fmla="*/ 539 w 1360"/>
                  <a:gd name="T19" fmla="*/ 1259 h 1360"/>
                  <a:gd name="T20" fmla="*/ 820 w 1360"/>
                  <a:gd name="T21" fmla="*/ 1097 h 1360"/>
                  <a:gd name="T22" fmla="*/ 772 w 1360"/>
                  <a:gd name="T23" fmla="*/ 861 h 1360"/>
                  <a:gd name="T24" fmla="*/ 772 w 1360"/>
                  <a:gd name="T25" fmla="*/ 861 h 1360"/>
                  <a:gd name="T26" fmla="*/ 817 w 1360"/>
                  <a:gd name="T27" fmla="*/ 818 h 1360"/>
                  <a:gd name="T28" fmla="*/ 860 w 1360"/>
                  <a:gd name="T29" fmla="*/ 772 h 1360"/>
                  <a:gd name="T30" fmla="*/ 1097 w 1360"/>
                  <a:gd name="T31" fmla="*/ 821 h 1360"/>
                  <a:gd name="T32" fmla="*/ 1258 w 1360"/>
                  <a:gd name="T33" fmla="*/ 541 h 1360"/>
                  <a:gd name="T34" fmla="*/ 1098 w 1360"/>
                  <a:gd name="T35" fmla="*/ 360 h 1360"/>
                  <a:gd name="T36" fmla="*/ 1098 w 1360"/>
                  <a:gd name="T37" fmla="*/ 360 h 1360"/>
                  <a:gd name="T38" fmla="*/ 1109 w 1360"/>
                  <a:gd name="T39" fmla="*/ 330 h 1360"/>
                  <a:gd name="T40" fmla="*/ 1117 w 1360"/>
                  <a:gd name="T41" fmla="*/ 301 h 1360"/>
                  <a:gd name="T42" fmla="*/ 1124 w 1360"/>
                  <a:gd name="T43" fmla="*/ 269 h 1360"/>
                  <a:gd name="T44" fmla="*/ 1132 w 1360"/>
                  <a:gd name="T45" fmla="*/ 239 h 1360"/>
                  <a:gd name="T46" fmla="*/ 1360 w 1360"/>
                  <a:gd name="T47" fmla="*/ 163 h 1360"/>
                  <a:gd name="T48" fmla="*/ 1360 w 1360"/>
                  <a:gd name="T49" fmla="*/ 0 h 1360"/>
                  <a:gd name="T50" fmla="*/ 307 w 1360"/>
                  <a:gd name="T51" fmla="*/ 0 h 1360"/>
                  <a:gd name="T52" fmla="*/ 307 w 1360"/>
                  <a:gd name="T53" fmla="*/ 0 h 1360"/>
                  <a:gd name="T54" fmla="*/ 305 w 1360"/>
                  <a:gd name="T55" fmla="*/ 32 h 1360"/>
                  <a:gd name="T56" fmla="*/ 299 w 1360"/>
                  <a:gd name="T57" fmla="*/ 62 h 1360"/>
                  <a:gd name="T58" fmla="*/ 292 w 1360"/>
                  <a:gd name="T59" fmla="*/ 92 h 1360"/>
                  <a:gd name="T60" fmla="*/ 282 w 1360"/>
                  <a:gd name="T61" fmla="*/ 120 h 1360"/>
                  <a:gd name="T62" fmla="*/ 269 w 1360"/>
                  <a:gd name="T63" fmla="*/ 147 h 1360"/>
                  <a:gd name="T64" fmla="*/ 253 w 1360"/>
                  <a:gd name="T65" fmla="*/ 172 h 1360"/>
                  <a:gd name="T66" fmla="*/ 236 w 1360"/>
                  <a:gd name="T67" fmla="*/ 196 h 1360"/>
                  <a:gd name="T68" fmla="*/ 216 w 1360"/>
                  <a:gd name="T69" fmla="*/ 217 h 1360"/>
                  <a:gd name="T70" fmla="*/ 194 w 1360"/>
                  <a:gd name="T71" fmla="*/ 236 h 1360"/>
                  <a:gd name="T72" fmla="*/ 171 w 1360"/>
                  <a:gd name="T73" fmla="*/ 255 h 1360"/>
                  <a:gd name="T74" fmla="*/ 146 w 1360"/>
                  <a:gd name="T75" fmla="*/ 269 h 1360"/>
                  <a:gd name="T76" fmla="*/ 120 w 1360"/>
                  <a:gd name="T77" fmla="*/ 282 h 1360"/>
                  <a:gd name="T78" fmla="*/ 91 w 1360"/>
                  <a:gd name="T79" fmla="*/ 294 h 1360"/>
                  <a:gd name="T80" fmla="*/ 62 w 1360"/>
                  <a:gd name="T81" fmla="*/ 301 h 1360"/>
                  <a:gd name="T82" fmla="*/ 32 w 1360"/>
                  <a:gd name="T83" fmla="*/ 305 h 1360"/>
                  <a:gd name="T84" fmla="*/ 0 w 1360"/>
                  <a:gd name="T85" fmla="*/ 307 h 1360"/>
                  <a:gd name="T86" fmla="*/ 0 w 1360"/>
                  <a:gd name="T87" fmla="*/ 307 h 1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0" h="1360">
                    <a:moveTo>
                      <a:pt x="0" y="307"/>
                    </a:moveTo>
                    <a:lnTo>
                      <a:pt x="0" y="1360"/>
                    </a:lnTo>
                    <a:lnTo>
                      <a:pt x="163" y="1360"/>
                    </a:lnTo>
                    <a:lnTo>
                      <a:pt x="239" y="1131"/>
                    </a:lnTo>
                    <a:lnTo>
                      <a:pt x="239" y="1131"/>
                    </a:lnTo>
                    <a:lnTo>
                      <a:pt x="269" y="1124"/>
                    </a:lnTo>
                    <a:lnTo>
                      <a:pt x="299" y="1117"/>
                    </a:lnTo>
                    <a:lnTo>
                      <a:pt x="330" y="1109"/>
                    </a:lnTo>
                    <a:lnTo>
                      <a:pt x="360" y="1098"/>
                    </a:lnTo>
                    <a:lnTo>
                      <a:pt x="539" y="1259"/>
                    </a:lnTo>
                    <a:lnTo>
                      <a:pt x="820" y="1097"/>
                    </a:lnTo>
                    <a:lnTo>
                      <a:pt x="772" y="861"/>
                    </a:lnTo>
                    <a:lnTo>
                      <a:pt x="772" y="861"/>
                    </a:lnTo>
                    <a:lnTo>
                      <a:pt x="817" y="818"/>
                    </a:lnTo>
                    <a:lnTo>
                      <a:pt x="860" y="772"/>
                    </a:lnTo>
                    <a:lnTo>
                      <a:pt x="1097" y="821"/>
                    </a:lnTo>
                    <a:lnTo>
                      <a:pt x="1258" y="541"/>
                    </a:lnTo>
                    <a:lnTo>
                      <a:pt x="1098" y="360"/>
                    </a:lnTo>
                    <a:lnTo>
                      <a:pt x="1098" y="360"/>
                    </a:lnTo>
                    <a:lnTo>
                      <a:pt x="1109" y="330"/>
                    </a:lnTo>
                    <a:lnTo>
                      <a:pt x="1117" y="301"/>
                    </a:lnTo>
                    <a:lnTo>
                      <a:pt x="1124" y="269"/>
                    </a:lnTo>
                    <a:lnTo>
                      <a:pt x="1132" y="239"/>
                    </a:lnTo>
                    <a:lnTo>
                      <a:pt x="1360" y="163"/>
                    </a:lnTo>
                    <a:lnTo>
                      <a:pt x="1360" y="0"/>
                    </a:lnTo>
                    <a:lnTo>
                      <a:pt x="307" y="0"/>
                    </a:lnTo>
                    <a:lnTo>
                      <a:pt x="307" y="0"/>
                    </a:lnTo>
                    <a:lnTo>
                      <a:pt x="305" y="32"/>
                    </a:lnTo>
                    <a:lnTo>
                      <a:pt x="299" y="62"/>
                    </a:lnTo>
                    <a:lnTo>
                      <a:pt x="292" y="92"/>
                    </a:lnTo>
                    <a:lnTo>
                      <a:pt x="282" y="120"/>
                    </a:lnTo>
                    <a:lnTo>
                      <a:pt x="269" y="147"/>
                    </a:lnTo>
                    <a:lnTo>
                      <a:pt x="253" y="172"/>
                    </a:lnTo>
                    <a:lnTo>
                      <a:pt x="236" y="196"/>
                    </a:lnTo>
                    <a:lnTo>
                      <a:pt x="216" y="217"/>
                    </a:lnTo>
                    <a:lnTo>
                      <a:pt x="194" y="236"/>
                    </a:lnTo>
                    <a:lnTo>
                      <a:pt x="171" y="255"/>
                    </a:lnTo>
                    <a:lnTo>
                      <a:pt x="146" y="269"/>
                    </a:lnTo>
                    <a:lnTo>
                      <a:pt x="120" y="282"/>
                    </a:lnTo>
                    <a:lnTo>
                      <a:pt x="91" y="294"/>
                    </a:lnTo>
                    <a:lnTo>
                      <a:pt x="62" y="301"/>
                    </a:lnTo>
                    <a:lnTo>
                      <a:pt x="32" y="305"/>
                    </a:lnTo>
                    <a:lnTo>
                      <a:pt x="0" y="307"/>
                    </a:lnTo>
                    <a:lnTo>
                      <a:pt x="0" y="307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3436298" y="1589056"/>
              <a:ext cx="697465" cy="697860"/>
              <a:chOff x="5756603" y="3560137"/>
              <a:chExt cx="690564" cy="697860"/>
            </a:xfrm>
          </p:grpSpPr>
          <p:sp>
            <p:nvSpPr>
              <p:cNvPr id="116" name="Freeform 136"/>
              <p:cNvSpPr>
                <a:spLocks/>
              </p:cNvSpPr>
              <p:nvPr/>
            </p:nvSpPr>
            <p:spPr bwMode="auto">
              <a:xfrm>
                <a:off x="6123317" y="3560137"/>
                <a:ext cx="119063" cy="119063"/>
              </a:xfrm>
              <a:custGeom>
                <a:avLst/>
                <a:gdLst>
                  <a:gd name="T0" fmla="*/ 37 w 75"/>
                  <a:gd name="T1" fmla="*/ 75 h 75"/>
                  <a:gd name="T2" fmla="*/ 37 w 75"/>
                  <a:gd name="T3" fmla="*/ 75 h 75"/>
                  <a:gd name="T4" fmla="*/ 45 w 75"/>
                  <a:gd name="T5" fmla="*/ 75 h 75"/>
                  <a:gd name="T6" fmla="*/ 52 w 75"/>
                  <a:gd name="T7" fmla="*/ 72 h 75"/>
                  <a:gd name="T8" fmla="*/ 57 w 75"/>
                  <a:gd name="T9" fmla="*/ 69 h 75"/>
                  <a:gd name="T10" fmla="*/ 63 w 75"/>
                  <a:gd name="T11" fmla="*/ 65 h 75"/>
                  <a:gd name="T12" fmla="*/ 68 w 75"/>
                  <a:gd name="T13" fmla="*/ 59 h 75"/>
                  <a:gd name="T14" fmla="*/ 72 w 75"/>
                  <a:gd name="T15" fmla="*/ 52 h 75"/>
                  <a:gd name="T16" fmla="*/ 73 w 75"/>
                  <a:gd name="T17" fmla="*/ 44 h 75"/>
                  <a:gd name="T18" fmla="*/ 75 w 75"/>
                  <a:gd name="T19" fmla="*/ 37 h 75"/>
                  <a:gd name="T20" fmla="*/ 75 w 75"/>
                  <a:gd name="T21" fmla="*/ 37 h 75"/>
                  <a:gd name="T22" fmla="*/ 73 w 75"/>
                  <a:gd name="T23" fmla="*/ 30 h 75"/>
                  <a:gd name="T24" fmla="*/ 72 w 75"/>
                  <a:gd name="T25" fmla="*/ 23 h 75"/>
                  <a:gd name="T26" fmla="*/ 68 w 75"/>
                  <a:gd name="T27" fmla="*/ 17 h 75"/>
                  <a:gd name="T28" fmla="*/ 63 w 75"/>
                  <a:gd name="T29" fmla="*/ 11 h 75"/>
                  <a:gd name="T30" fmla="*/ 57 w 75"/>
                  <a:gd name="T31" fmla="*/ 7 h 75"/>
                  <a:gd name="T32" fmla="*/ 52 w 75"/>
                  <a:gd name="T33" fmla="*/ 3 h 75"/>
                  <a:gd name="T34" fmla="*/ 45 w 75"/>
                  <a:gd name="T35" fmla="*/ 1 h 75"/>
                  <a:gd name="T36" fmla="*/ 37 w 75"/>
                  <a:gd name="T37" fmla="*/ 0 h 75"/>
                  <a:gd name="T38" fmla="*/ 37 w 75"/>
                  <a:gd name="T39" fmla="*/ 0 h 75"/>
                  <a:gd name="T40" fmla="*/ 30 w 75"/>
                  <a:gd name="T41" fmla="*/ 1 h 75"/>
                  <a:gd name="T42" fmla="*/ 23 w 75"/>
                  <a:gd name="T43" fmla="*/ 3 h 75"/>
                  <a:gd name="T44" fmla="*/ 16 w 75"/>
                  <a:gd name="T45" fmla="*/ 7 h 75"/>
                  <a:gd name="T46" fmla="*/ 10 w 75"/>
                  <a:gd name="T47" fmla="*/ 11 h 75"/>
                  <a:gd name="T48" fmla="*/ 6 w 75"/>
                  <a:gd name="T49" fmla="*/ 17 h 75"/>
                  <a:gd name="T50" fmla="*/ 3 w 75"/>
                  <a:gd name="T51" fmla="*/ 23 h 75"/>
                  <a:gd name="T52" fmla="*/ 0 w 75"/>
                  <a:gd name="T53" fmla="*/ 30 h 75"/>
                  <a:gd name="T54" fmla="*/ 0 w 75"/>
                  <a:gd name="T55" fmla="*/ 37 h 75"/>
                  <a:gd name="T56" fmla="*/ 0 w 75"/>
                  <a:gd name="T57" fmla="*/ 37 h 75"/>
                  <a:gd name="T58" fmla="*/ 0 w 75"/>
                  <a:gd name="T59" fmla="*/ 44 h 75"/>
                  <a:gd name="T60" fmla="*/ 3 w 75"/>
                  <a:gd name="T61" fmla="*/ 52 h 75"/>
                  <a:gd name="T62" fmla="*/ 6 w 75"/>
                  <a:gd name="T63" fmla="*/ 59 h 75"/>
                  <a:gd name="T64" fmla="*/ 10 w 75"/>
                  <a:gd name="T65" fmla="*/ 65 h 75"/>
                  <a:gd name="T66" fmla="*/ 16 w 75"/>
                  <a:gd name="T67" fmla="*/ 69 h 75"/>
                  <a:gd name="T68" fmla="*/ 23 w 75"/>
                  <a:gd name="T69" fmla="*/ 72 h 75"/>
                  <a:gd name="T70" fmla="*/ 30 w 75"/>
                  <a:gd name="T71" fmla="*/ 75 h 75"/>
                  <a:gd name="T72" fmla="*/ 37 w 75"/>
                  <a:gd name="T73" fmla="*/ 75 h 75"/>
                  <a:gd name="T74" fmla="*/ 37 w 75"/>
                  <a:gd name="T75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5" h="75">
                    <a:moveTo>
                      <a:pt x="37" y="75"/>
                    </a:moveTo>
                    <a:lnTo>
                      <a:pt x="37" y="75"/>
                    </a:lnTo>
                    <a:lnTo>
                      <a:pt x="45" y="75"/>
                    </a:lnTo>
                    <a:lnTo>
                      <a:pt x="52" y="72"/>
                    </a:lnTo>
                    <a:lnTo>
                      <a:pt x="57" y="69"/>
                    </a:lnTo>
                    <a:lnTo>
                      <a:pt x="63" y="65"/>
                    </a:lnTo>
                    <a:lnTo>
                      <a:pt x="68" y="59"/>
                    </a:lnTo>
                    <a:lnTo>
                      <a:pt x="72" y="52"/>
                    </a:lnTo>
                    <a:lnTo>
                      <a:pt x="73" y="44"/>
                    </a:lnTo>
                    <a:lnTo>
                      <a:pt x="75" y="37"/>
                    </a:lnTo>
                    <a:lnTo>
                      <a:pt x="75" y="37"/>
                    </a:lnTo>
                    <a:lnTo>
                      <a:pt x="73" y="30"/>
                    </a:lnTo>
                    <a:lnTo>
                      <a:pt x="72" y="23"/>
                    </a:lnTo>
                    <a:lnTo>
                      <a:pt x="68" y="17"/>
                    </a:lnTo>
                    <a:lnTo>
                      <a:pt x="63" y="11"/>
                    </a:lnTo>
                    <a:lnTo>
                      <a:pt x="57" y="7"/>
                    </a:lnTo>
                    <a:lnTo>
                      <a:pt x="52" y="3"/>
                    </a:lnTo>
                    <a:lnTo>
                      <a:pt x="45" y="1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0" y="1"/>
                    </a:lnTo>
                    <a:lnTo>
                      <a:pt x="23" y="3"/>
                    </a:lnTo>
                    <a:lnTo>
                      <a:pt x="16" y="7"/>
                    </a:lnTo>
                    <a:lnTo>
                      <a:pt x="10" y="11"/>
                    </a:lnTo>
                    <a:lnTo>
                      <a:pt x="6" y="17"/>
                    </a:lnTo>
                    <a:lnTo>
                      <a:pt x="3" y="23"/>
                    </a:lnTo>
                    <a:lnTo>
                      <a:pt x="0" y="30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3" y="52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69"/>
                    </a:lnTo>
                    <a:lnTo>
                      <a:pt x="23" y="72"/>
                    </a:lnTo>
                    <a:lnTo>
                      <a:pt x="30" y="75"/>
                    </a:lnTo>
                    <a:lnTo>
                      <a:pt x="37" y="75"/>
                    </a:lnTo>
                    <a:lnTo>
                      <a:pt x="37" y="7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7" name="Freeform 137"/>
              <p:cNvSpPr>
                <a:spLocks/>
              </p:cNvSpPr>
              <p:nvPr/>
            </p:nvSpPr>
            <p:spPr bwMode="auto">
              <a:xfrm>
                <a:off x="5904239" y="3840484"/>
                <a:ext cx="228599" cy="417513"/>
              </a:xfrm>
              <a:custGeom>
                <a:avLst/>
                <a:gdLst>
                  <a:gd name="T0" fmla="*/ 101 w 144"/>
                  <a:gd name="T1" fmla="*/ 0 h 263"/>
                  <a:gd name="T2" fmla="*/ 41 w 144"/>
                  <a:gd name="T3" fmla="*/ 0 h 263"/>
                  <a:gd name="T4" fmla="*/ 31 w 144"/>
                  <a:gd name="T5" fmla="*/ 0 h 263"/>
                  <a:gd name="T6" fmla="*/ 18 w 144"/>
                  <a:gd name="T7" fmla="*/ 3 h 263"/>
                  <a:gd name="T8" fmla="*/ 9 w 144"/>
                  <a:gd name="T9" fmla="*/ 9 h 263"/>
                  <a:gd name="T10" fmla="*/ 2 w 144"/>
                  <a:gd name="T11" fmla="*/ 19 h 263"/>
                  <a:gd name="T12" fmla="*/ 0 w 144"/>
                  <a:gd name="T13" fmla="*/ 30 h 263"/>
                  <a:gd name="T14" fmla="*/ 0 w 144"/>
                  <a:gd name="T15" fmla="*/ 96 h 263"/>
                  <a:gd name="T16" fmla="*/ 2 w 144"/>
                  <a:gd name="T17" fmla="*/ 108 h 263"/>
                  <a:gd name="T18" fmla="*/ 9 w 144"/>
                  <a:gd name="T19" fmla="*/ 118 h 263"/>
                  <a:gd name="T20" fmla="*/ 18 w 144"/>
                  <a:gd name="T21" fmla="*/ 124 h 263"/>
                  <a:gd name="T22" fmla="*/ 31 w 144"/>
                  <a:gd name="T23" fmla="*/ 126 h 263"/>
                  <a:gd name="T24" fmla="*/ 31 w 144"/>
                  <a:gd name="T25" fmla="*/ 126 h 263"/>
                  <a:gd name="T26" fmla="*/ 29 w 144"/>
                  <a:gd name="T27" fmla="*/ 241 h 263"/>
                  <a:gd name="T28" fmla="*/ 29 w 144"/>
                  <a:gd name="T29" fmla="*/ 246 h 263"/>
                  <a:gd name="T30" fmla="*/ 35 w 144"/>
                  <a:gd name="T31" fmla="*/ 256 h 263"/>
                  <a:gd name="T32" fmla="*/ 46 w 144"/>
                  <a:gd name="T33" fmla="*/ 263 h 263"/>
                  <a:gd name="T34" fmla="*/ 51 w 144"/>
                  <a:gd name="T35" fmla="*/ 263 h 263"/>
                  <a:gd name="T36" fmla="*/ 59 w 144"/>
                  <a:gd name="T37" fmla="*/ 262 h 263"/>
                  <a:gd name="T38" fmla="*/ 71 w 144"/>
                  <a:gd name="T39" fmla="*/ 250 h 263"/>
                  <a:gd name="T40" fmla="*/ 72 w 144"/>
                  <a:gd name="T41" fmla="*/ 241 h 263"/>
                  <a:gd name="T42" fmla="*/ 72 w 144"/>
                  <a:gd name="T43" fmla="*/ 246 h 263"/>
                  <a:gd name="T44" fmla="*/ 80 w 144"/>
                  <a:gd name="T45" fmla="*/ 256 h 263"/>
                  <a:gd name="T46" fmla="*/ 90 w 144"/>
                  <a:gd name="T47" fmla="*/ 263 h 263"/>
                  <a:gd name="T48" fmla="*/ 94 w 144"/>
                  <a:gd name="T49" fmla="*/ 263 h 263"/>
                  <a:gd name="T50" fmla="*/ 103 w 144"/>
                  <a:gd name="T51" fmla="*/ 262 h 263"/>
                  <a:gd name="T52" fmla="*/ 114 w 144"/>
                  <a:gd name="T53" fmla="*/ 250 h 263"/>
                  <a:gd name="T54" fmla="*/ 115 w 144"/>
                  <a:gd name="T55" fmla="*/ 241 h 263"/>
                  <a:gd name="T56" fmla="*/ 115 w 144"/>
                  <a:gd name="T57" fmla="*/ 135 h 263"/>
                  <a:gd name="T58" fmla="*/ 115 w 144"/>
                  <a:gd name="T59" fmla="*/ 126 h 263"/>
                  <a:gd name="T60" fmla="*/ 121 w 144"/>
                  <a:gd name="T61" fmla="*/ 126 h 263"/>
                  <a:gd name="T62" fmla="*/ 131 w 144"/>
                  <a:gd name="T63" fmla="*/ 121 h 263"/>
                  <a:gd name="T64" fmla="*/ 140 w 144"/>
                  <a:gd name="T65" fmla="*/ 113 h 263"/>
                  <a:gd name="T66" fmla="*/ 144 w 144"/>
                  <a:gd name="T67" fmla="*/ 102 h 263"/>
                  <a:gd name="T68" fmla="*/ 144 w 144"/>
                  <a:gd name="T69" fmla="*/ 30 h 263"/>
                  <a:gd name="T70" fmla="*/ 144 w 144"/>
                  <a:gd name="T71" fmla="*/ 24 h 263"/>
                  <a:gd name="T72" fmla="*/ 140 w 144"/>
                  <a:gd name="T73" fmla="*/ 13 h 263"/>
                  <a:gd name="T74" fmla="*/ 131 w 144"/>
                  <a:gd name="T75" fmla="*/ 6 h 263"/>
                  <a:gd name="T76" fmla="*/ 121 w 144"/>
                  <a:gd name="T77" fmla="*/ 1 h 263"/>
                  <a:gd name="T78" fmla="*/ 115 w 144"/>
                  <a:gd name="T7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4" h="263">
                    <a:moveTo>
                      <a:pt x="115" y="0"/>
                    </a:moveTo>
                    <a:lnTo>
                      <a:pt x="101" y="0"/>
                    </a:lnTo>
                    <a:lnTo>
                      <a:pt x="71" y="32"/>
                    </a:lnTo>
                    <a:lnTo>
                      <a:pt x="4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8" y="3"/>
                    </a:lnTo>
                    <a:lnTo>
                      <a:pt x="13" y="6"/>
                    </a:lnTo>
                    <a:lnTo>
                      <a:pt x="9" y="9"/>
                    </a:lnTo>
                    <a:lnTo>
                      <a:pt x="5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102"/>
                    </a:lnTo>
                    <a:lnTo>
                      <a:pt x="2" y="108"/>
                    </a:lnTo>
                    <a:lnTo>
                      <a:pt x="5" y="113"/>
                    </a:lnTo>
                    <a:lnTo>
                      <a:pt x="9" y="118"/>
                    </a:lnTo>
                    <a:lnTo>
                      <a:pt x="13" y="121"/>
                    </a:lnTo>
                    <a:lnTo>
                      <a:pt x="18" y="124"/>
                    </a:lnTo>
                    <a:lnTo>
                      <a:pt x="23" y="126"/>
                    </a:lnTo>
                    <a:lnTo>
                      <a:pt x="31" y="126"/>
                    </a:lnTo>
                    <a:lnTo>
                      <a:pt x="31" y="126"/>
                    </a:lnTo>
                    <a:lnTo>
                      <a:pt x="31" y="126"/>
                    </a:lnTo>
                    <a:lnTo>
                      <a:pt x="29" y="135"/>
                    </a:lnTo>
                    <a:lnTo>
                      <a:pt x="29" y="241"/>
                    </a:lnTo>
                    <a:lnTo>
                      <a:pt x="29" y="241"/>
                    </a:lnTo>
                    <a:lnTo>
                      <a:pt x="29" y="246"/>
                    </a:lnTo>
                    <a:lnTo>
                      <a:pt x="31" y="250"/>
                    </a:lnTo>
                    <a:lnTo>
                      <a:pt x="35" y="256"/>
                    </a:lnTo>
                    <a:lnTo>
                      <a:pt x="42" y="262"/>
                    </a:lnTo>
                    <a:lnTo>
                      <a:pt x="46" y="263"/>
                    </a:lnTo>
                    <a:lnTo>
                      <a:pt x="51" y="263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59" y="262"/>
                    </a:lnTo>
                    <a:lnTo>
                      <a:pt x="67" y="256"/>
                    </a:lnTo>
                    <a:lnTo>
                      <a:pt x="71" y="250"/>
                    </a:lnTo>
                    <a:lnTo>
                      <a:pt x="72" y="246"/>
                    </a:lnTo>
                    <a:lnTo>
                      <a:pt x="72" y="241"/>
                    </a:lnTo>
                    <a:lnTo>
                      <a:pt x="72" y="241"/>
                    </a:lnTo>
                    <a:lnTo>
                      <a:pt x="72" y="246"/>
                    </a:lnTo>
                    <a:lnTo>
                      <a:pt x="74" y="250"/>
                    </a:lnTo>
                    <a:lnTo>
                      <a:pt x="80" y="256"/>
                    </a:lnTo>
                    <a:lnTo>
                      <a:pt x="85" y="262"/>
                    </a:lnTo>
                    <a:lnTo>
                      <a:pt x="90" y="263"/>
                    </a:lnTo>
                    <a:lnTo>
                      <a:pt x="94" y="263"/>
                    </a:lnTo>
                    <a:lnTo>
                      <a:pt x="94" y="263"/>
                    </a:lnTo>
                    <a:lnTo>
                      <a:pt x="98" y="263"/>
                    </a:lnTo>
                    <a:lnTo>
                      <a:pt x="103" y="262"/>
                    </a:lnTo>
                    <a:lnTo>
                      <a:pt x="110" y="256"/>
                    </a:lnTo>
                    <a:lnTo>
                      <a:pt x="114" y="250"/>
                    </a:lnTo>
                    <a:lnTo>
                      <a:pt x="115" y="246"/>
                    </a:lnTo>
                    <a:lnTo>
                      <a:pt x="115" y="241"/>
                    </a:lnTo>
                    <a:lnTo>
                      <a:pt x="115" y="135"/>
                    </a:lnTo>
                    <a:lnTo>
                      <a:pt x="115" y="135"/>
                    </a:lnTo>
                    <a:lnTo>
                      <a:pt x="114" y="126"/>
                    </a:lnTo>
                    <a:lnTo>
                      <a:pt x="115" y="126"/>
                    </a:lnTo>
                    <a:lnTo>
                      <a:pt x="115" y="126"/>
                    </a:lnTo>
                    <a:lnTo>
                      <a:pt x="121" y="126"/>
                    </a:lnTo>
                    <a:lnTo>
                      <a:pt x="127" y="124"/>
                    </a:lnTo>
                    <a:lnTo>
                      <a:pt x="131" y="121"/>
                    </a:lnTo>
                    <a:lnTo>
                      <a:pt x="136" y="118"/>
                    </a:lnTo>
                    <a:lnTo>
                      <a:pt x="140" y="113"/>
                    </a:lnTo>
                    <a:lnTo>
                      <a:pt x="143" y="108"/>
                    </a:lnTo>
                    <a:lnTo>
                      <a:pt x="144" y="102"/>
                    </a:lnTo>
                    <a:lnTo>
                      <a:pt x="144" y="96"/>
                    </a:lnTo>
                    <a:lnTo>
                      <a:pt x="144" y="30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43" y="19"/>
                    </a:lnTo>
                    <a:lnTo>
                      <a:pt x="140" y="13"/>
                    </a:lnTo>
                    <a:lnTo>
                      <a:pt x="136" y="9"/>
                    </a:lnTo>
                    <a:lnTo>
                      <a:pt x="131" y="6"/>
                    </a:lnTo>
                    <a:lnTo>
                      <a:pt x="127" y="3"/>
                    </a:lnTo>
                    <a:lnTo>
                      <a:pt x="121" y="1"/>
                    </a:lnTo>
                    <a:lnTo>
                      <a:pt x="115" y="0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8" name="Freeform 138"/>
              <p:cNvSpPr>
                <a:spLocks/>
              </p:cNvSpPr>
              <p:nvPr/>
            </p:nvSpPr>
            <p:spPr bwMode="auto">
              <a:xfrm>
                <a:off x="6312229" y="3590300"/>
                <a:ext cx="92075" cy="92075"/>
              </a:xfrm>
              <a:custGeom>
                <a:avLst/>
                <a:gdLst>
                  <a:gd name="T0" fmla="*/ 29 w 58"/>
                  <a:gd name="T1" fmla="*/ 58 h 58"/>
                  <a:gd name="T2" fmla="*/ 29 w 58"/>
                  <a:gd name="T3" fmla="*/ 58 h 58"/>
                  <a:gd name="T4" fmla="*/ 35 w 58"/>
                  <a:gd name="T5" fmla="*/ 57 h 58"/>
                  <a:gd name="T6" fmla="*/ 39 w 58"/>
                  <a:gd name="T7" fmla="*/ 56 h 58"/>
                  <a:gd name="T8" fmla="*/ 45 w 58"/>
                  <a:gd name="T9" fmla="*/ 53 h 58"/>
                  <a:gd name="T10" fmla="*/ 49 w 58"/>
                  <a:gd name="T11" fmla="*/ 50 h 58"/>
                  <a:gd name="T12" fmla="*/ 52 w 58"/>
                  <a:gd name="T13" fmla="*/ 46 h 58"/>
                  <a:gd name="T14" fmla="*/ 55 w 58"/>
                  <a:gd name="T15" fmla="*/ 40 h 58"/>
                  <a:gd name="T16" fmla="*/ 56 w 58"/>
                  <a:gd name="T17" fmla="*/ 35 h 58"/>
                  <a:gd name="T18" fmla="*/ 58 w 58"/>
                  <a:gd name="T19" fmla="*/ 28 h 58"/>
                  <a:gd name="T20" fmla="*/ 58 w 58"/>
                  <a:gd name="T21" fmla="*/ 28 h 58"/>
                  <a:gd name="T22" fmla="*/ 56 w 58"/>
                  <a:gd name="T23" fmla="*/ 23 h 58"/>
                  <a:gd name="T24" fmla="*/ 55 w 58"/>
                  <a:gd name="T25" fmla="*/ 18 h 58"/>
                  <a:gd name="T26" fmla="*/ 52 w 58"/>
                  <a:gd name="T27" fmla="*/ 12 h 58"/>
                  <a:gd name="T28" fmla="*/ 49 w 58"/>
                  <a:gd name="T29" fmla="*/ 8 h 58"/>
                  <a:gd name="T30" fmla="*/ 45 w 58"/>
                  <a:gd name="T31" fmla="*/ 5 h 58"/>
                  <a:gd name="T32" fmla="*/ 39 w 58"/>
                  <a:gd name="T33" fmla="*/ 2 h 58"/>
                  <a:gd name="T34" fmla="*/ 35 w 58"/>
                  <a:gd name="T35" fmla="*/ 1 h 58"/>
                  <a:gd name="T36" fmla="*/ 29 w 58"/>
                  <a:gd name="T37" fmla="*/ 0 h 58"/>
                  <a:gd name="T38" fmla="*/ 29 w 58"/>
                  <a:gd name="T39" fmla="*/ 0 h 58"/>
                  <a:gd name="T40" fmla="*/ 23 w 58"/>
                  <a:gd name="T41" fmla="*/ 1 h 58"/>
                  <a:gd name="T42" fmla="*/ 18 w 58"/>
                  <a:gd name="T43" fmla="*/ 2 h 58"/>
                  <a:gd name="T44" fmla="*/ 12 w 58"/>
                  <a:gd name="T45" fmla="*/ 5 h 58"/>
                  <a:gd name="T46" fmla="*/ 9 w 58"/>
                  <a:gd name="T47" fmla="*/ 8 h 58"/>
                  <a:gd name="T48" fmla="*/ 5 w 58"/>
                  <a:gd name="T49" fmla="*/ 12 h 58"/>
                  <a:gd name="T50" fmla="*/ 2 w 58"/>
                  <a:gd name="T51" fmla="*/ 18 h 58"/>
                  <a:gd name="T52" fmla="*/ 0 w 58"/>
                  <a:gd name="T53" fmla="*/ 23 h 58"/>
                  <a:gd name="T54" fmla="*/ 0 w 58"/>
                  <a:gd name="T55" fmla="*/ 28 h 58"/>
                  <a:gd name="T56" fmla="*/ 0 w 58"/>
                  <a:gd name="T57" fmla="*/ 28 h 58"/>
                  <a:gd name="T58" fmla="*/ 0 w 58"/>
                  <a:gd name="T59" fmla="*/ 35 h 58"/>
                  <a:gd name="T60" fmla="*/ 2 w 58"/>
                  <a:gd name="T61" fmla="*/ 40 h 58"/>
                  <a:gd name="T62" fmla="*/ 5 w 58"/>
                  <a:gd name="T63" fmla="*/ 46 h 58"/>
                  <a:gd name="T64" fmla="*/ 9 w 58"/>
                  <a:gd name="T65" fmla="*/ 50 h 58"/>
                  <a:gd name="T66" fmla="*/ 12 w 58"/>
                  <a:gd name="T67" fmla="*/ 53 h 58"/>
                  <a:gd name="T68" fmla="*/ 18 w 58"/>
                  <a:gd name="T69" fmla="*/ 56 h 58"/>
                  <a:gd name="T70" fmla="*/ 23 w 58"/>
                  <a:gd name="T71" fmla="*/ 57 h 58"/>
                  <a:gd name="T72" fmla="*/ 29 w 58"/>
                  <a:gd name="T73" fmla="*/ 58 h 58"/>
                  <a:gd name="T74" fmla="*/ 29 w 58"/>
                  <a:gd name="T7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8" h="58">
                    <a:moveTo>
                      <a:pt x="29" y="58"/>
                    </a:moveTo>
                    <a:lnTo>
                      <a:pt x="29" y="58"/>
                    </a:lnTo>
                    <a:lnTo>
                      <a:pt x="35" y="57"/>
                    </a:lnTo>
                    <a:lnTo>
                      <a:pt x="39" y="56"/>
                    </a:lnTo>
                    <a:lnTo>
                      <a:pt x="45" y="53"/>
                    </a:lnTo>
                    <a:lnTo>
                      <a:pt x="49" y="50"/>
                    </a:lnTo>
                    <a:lnTo>
                      <a:pt x="52" y="46"/>
                    </a:lnTo>
                    <a:lnTo>
                      <a:pt x="55" y="40"/>
                    </a:lnTo>
                    <a:lnTo>
                      <a:pt x="56" y="35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6" y="23"/>
                    </a:lnTo>
                    <a:lnTo>
                      <a:pt x="55" y="18"/>
                    </a:lnTo>
                    <a:lnTo>
                      <a:pt x="52" y="12"/>
                    </a:lnTo>
                    <a:lnTo>
                      <a:pt x="49" y="8"/>
                    </a:lnTo>
                    <a:lnTo>
                      <a:pt x="45" y="5"/>
                    </a:lnTo>
                    <a:lnTo>
                      <a:pt x="39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3" y="1"/>
                    </a:lnTo>
                    <a:lnTo>
                      <a:pt x="18" y="2"/>
                    </a:lnTo>
                    <a:lnTo>
                      <a:pt x="12" y="5"/>
                    </a:lnTo>
                    <a:lnTo>
                      <a:pt x="9" y="8"/>
                    </a:lnTo>
                    <a:lnTo>
                      <a:pt x="5" y="12"/>
                    </a:lnTo>
                    <a:lnTo>
                      <a:pt x="2" y="18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5"/>
                    </a:lnTo>
                    <a:lnTo>
                      <a:pt x="2" y="40"/>
                    </a:lnTo>
                    <a:lnTo>
                      <a:pt x="5" y="46"/>
                    </a:lnTo>
                    <a:lnTo>
                      <a:pt x="9" y="50"/>
                    </a:lnTo>
                    <a:lnTo>
                      <a:pt x="12" y="53"/>
                    </a:lnTo>
                    <a:lnTo>
                      <a:pt x="18" y="56"/>
                    </a:lnTo>
                    <a:lnTo>
                      <a:pt x="23" y="57"/>
                    </a:lnTo>
                    <a:lnTo>
                      <a:pt x="29" y="58"/>
                    </a:lnTo>
                    <a:lnTo>
                      <a:pt x="29" y="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9" name="Freeform 139"/>
              <p:cNvSpPr>
                <a:spLocks/>
              </p:cNvSpPr>
              <p:nvPr/>
            </p:nvSpPr>
            <p:spPr bwMode="auto">
              <a:xfrm>
                <a:off x="6305879" y="3699837"/>
                <a:ext cx="141288" cy="341313"/>
              </a:xfrm>
              <a:custGeom>
                <a:avLst/>
                <a:gdLst>
                  <a:gd name="T0" fmla="*/ 66 w 89"/>
                  <a:gd name="T1" fmla="*/ 0 h 215"/>
                  <a:gd name="T2" fmla="*/ 56 w 89"/>
                  <a:gd name="T3" fmla="*/ 0 h 215"/>
                  <a:gd name="T4" fmla="*/ 32 w 89"/>
                  <a:gd name="T5" fmla="*/ 24 h 215"/>
                  <a:gd name="T6" fmla="*/ 9 w 89"/>
                  <a:gd name="T7" fmla="*/ 0 h 215"/>
                  <a:gd name="T8" fmla="*/ 3 w 89"/>
                  <a:gd name="T9" fmla="*/ 0 h 215"/>
                  <a:gd name="T10" fmla="*/ 3 w 89"/>
                  <a:gd name="T11" fmla="*/ 0 h 215"/>
                  <a:gd name="T12" fmla="*/ 9 w 89"/>
                  <a:gd name="T13" fmla="*/ 5 h 215"/>
                  <a:gd name="T14" fmla="*/ 13 w 89"/>
                  <a:gd name="T15" fmla="*/ 11 h 215"/>
                  <a:gd name="T16" fmla="*/ 14 w 89"/>
                  <a:gd name="T17" fmla="*/ 17 h 215"/>
                  <a:gd name="T18" fmla="*/ 16 w 89"/>
                  <a:gd name="T19" fmla="*/ 25 h 215"/>
                  <a:gd name="T20" fmla="*/ 16 w 89"/>
                  <a:gd name="T21" fmla="*/ 110 h 215"/>
                  <a:gd name="T22" fmla="*/ 16 w 89"/>
                  <a:gd name="T23" fmla="*/ 110 h 215"/>
                  <a:gd name="T24" fmla="*/ 14 w 89"/>
                  <a:gd name="T25" fmla="*/ 119 h 215"/>
                  <a:gd name="T26" fmla="*/ 11 w 89"/>
                  <a:gd name="T27" fmla="*/ 126 h 215"/>
                  <a:gd name="T28" fmla="*/ 6 w 89"/>
                  <a:gd name="T29" fmla="*/ 133 h 215"/>
                  <a:gd name="T30" fmla="*/ 0 w 89"/>
                  <a:gd name="T31" fmla="*/ 137 h 215"/>
                  <a:gd name="T32" fmla="*/ 0 w 89"/>
                  <a:gd name="T33" fmla="*/ 198 h 215"/>
                  <a:gd name="T34" fmla="*/ 0 w 89"/>
                  <a:gd name="T35" fmla="*/ 198 h 215"/>
                  <a:gd name="T36" fmla="*/ 1 w 89"/>
                  <a:gd name="T37" fmla="*/ 204 h 215"/>
                  <a:gd name="T38" fmla="*/ 4 w 89"/>
                  <a:gd name="T39" fmla="*/ 209 h 215"/>
                  <a:gd name="T40" fmla="*/ 10 w 89"/>
                  <a:gd name="T41" fmla="*/ 214 h 215"/>
                  <a:gd name="T42" fmla="*/ 16 w 89"/>
                  <a:gd name="T43" fmla="*/ 215 h 215"/>
                  <a:gd name="T44" fmla="*/ 16 w 89"/>
                  <a:gd name="T45" fmla="*/ 215 h 215"/>
                  <a:gd name="T46" fmla="*/ 23 w 89"/>
                  <a:gd name="T47" fmla="*/ 214 h 215"/>
                  <a:gd name="T48" fmla="*/ 29 w 89"/>
                  <a:gd name="T49" fmla="*/ 209 h 215"/>
                  <a:gd name="T50" fmla="*/ 32 w 89"/>
                  <a:gd name="T51" fmla="*/ 204 h 215"/>
                  <a:gd name="T52" fmla="*/ 33 w 89"/>
                  <a:gd name="T53" fmla="*/ 198 h 215"/>
                  <a:gd name="T54" fmla="*/ 33 w 89"/>
                  <a:gd name="T55" fmla="*/ 198 h 215"/>
                  <a:gd name="T56" fmla="*/ 34 w 89"/>
                  <a:gd name="T57" fmla="*/ 204 h 215"/>
                  <a:gd name="T58" fmla="*/ 37 w 89"/>
                  <a:gd name="T59" fmla="*/ 209 h 215"/>
                  <a:gd name="T60" fmla="*/ 43 w 89"/>
                  <a:gd name="T61" fmla="*/ 214 h 215"/>
                  <a:gd name="T62" fmla="*/ 50 w 89"/>
                  <a:gd name="T63" fmla="*/ 215 h 215"/>
                  <a:gd name="T64" fmla="*/ 50 w 89"/>
                  <a:gd name="T65" fmla="*/ 215 h 215"/>
                  <a:gd name="T66" fmla="*/ 56 w 89"/>
                  <a:gd name="T67" fmla="*/ 214 h 215"/>
                  <a:gd name="T68" fmla="*/ 62 w 89"/>
                  <a:gd name="T69" fmla="*/ 209 h 215"/>
                  <a:gd name="T70" fmla="*/ 65 w 89"/>
                  <a:gd name="T71" fmla="*/ 204 h 215"/>
                  <a:gd name="T72" fmla="*/ 66 w 89"/>
                  <a:gd name="T73" fmla="*/ 198 h 215"/>
                  <a:gd name="T74" fmla="*/ 66 w 89"/>
                  <a:gd name="T75" fmla="*/ 104 h 215"/>
                  <a:gd name="T76" fmla="*/ 66 w 89"/>
                  <a:gd name="T77" fmla="*/ 104 h 215"/>
                  <a:gd name="T78" fmla="*/ 65 w 89"/>
                  <a:gd name="T79" fmla="*/ 97 h 215"/>
                  <a:gd name="T80" fmla="*/ 66 w 89"/>
                  <a:gd name="T81" fmla="*/ 97 h 215"/>
                  <a:gd name="T82" fmla="*/ 66 w 89"/>
                  <a:gd name="T83" fmla="*/ 97 h 215"/>
                  <a:gd name="T84" fmla="*/ 70 w 89"/>
                  <a:gd name="T85" fmla="*/ 97 h 215"/>
                  <a:gd name="T86" fmla="*/ 75 w 89"/>
                  <a:gd name="T87" fmla="*/ 96 h 215"/>
                  <a:gd name="T88" fmla="*/ 79 w 89"/>
                  <a:gd name="T89" fmla="*/ 94 h 215"/>
                  <a:gd name="T90" fmla="*/ 82 w 89"/>
                  <a:gd name="T91" fmla="*/ 92 h 215"/>
                  <a:gd name="T92" fmla="*/ 85 w 89"/>
                  <a:gd name="T93" fmla="*/ 87 h 215"/>
                  <a:gd name="T94" fmla="*/ 88 w 89"/>
                  <a:gd name="T95" fmla="*/ 83 h 215"/>
                  <a:gd name="T96" fmla="*/ 89 w 89"/>
                  <a:gd name="T97" fmla="*/ 79 h 215"/>
                  <a:gd name="T98" fmla="*/ 89 w 89"/>
                  <a:gd name="T99" fmla="*/ 74 h 215"/>
                  <a:gd name="T100" fmla="*/ 89 w 89"/>
                  <a:gd name="T101" fmla="*/ 24 h 215"/>
                  <a:gd name="T102" fmla="*/ 89 w 89"/>
                  <a:gd name="T103" fmla="*/ 24 h 215"/>
                  <a:gd name="T104" fmla="*/ 89 w 89"/>
                  <a:gd name="T105" fmla="*/ 18 h 215"/>
                  <a:gd name="T106" fmla="*/ 88 w 89"/>
                  <a:gd name="T107" fmla="*/ 14 h 215"/>
                  <a:gd name="T108" fmla="*/ 85 w 89"/>
                  <a:gd name="T109" fmla="*/ 10 h 215"/>
                  <a:gd name="T110" fmla="*/ 82 w 89"/>
                  <a:gd name="T111" fmla="*/ 7 h 215"/>
                  <a:gd name="T112" fmla="*/ 79 w 89"/>
                  <a:gd name="T113" fmla="*/ 4 h 215"/>
                  <a:gd name="T114" fmla="*/ 75 w 89"/>
                  <a:gd name="T115" fmla="*/ 2 h 215"/>
                  <a:gd name="T116" fmla="*/ 70 w 89"/>
                  <a:gd name="T117" fmla="*/ 1 h 215"/>
                  <a:gd name="T118" fmla="*/ 66 w 89"/>
                  <a:gd name="T119" fmla="*/ 0 h 215"/>
                  <a:gd name="T120" fmla="*/ 66 w 89"/>
                  <a:gd name="T12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9" h="215">
                    <a:moveTo>
                      <a:pt x="66" y="0"/>
                    </a:moveTo>
                    <a:lnTo>
                      <a:pt x="56" y="0"/>
                    </a:lnTo>
                    <a:lnTo>
                      <a:pt x="32" y="24"/>
                    </a:lnTo>
                    <a:lnTo>
                      <a:pt x="9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9" y="5"/>
                    </a:lnTo>
                    <a:lnTo>
                      <a:pt x="13" y="11"/>
                    </a:lnTo>
                    <a:lnTo>
                      <a:pt x="14" y="17"/>
                    </a:lnTo>
                    <a:lnTo>
                      <a:pt x="16" y="25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14" y="119"/>
                    </a:lnTo>
                    <a:lnTo>
                      <a:pt x="11" y="126"/>
                    </a:lnTo>
                    <a:lnTo>
                      <a:pt x="6" y="133"/>
                    </a:lnTo>
                    <a:lnTo>
                      <a:pt x="0" y="137"/>
                    </a:lnTo>
                    <a:lnTo>
                      <a:pt x="0" y="198"/>
                    </a:lnTo>
                    <a:lnTo>
                      <a:pt x="0" y="198"/>
                    </a:lnTo>
                    <a:lnTo>
                      <a:pt x="1" y="204"/>
                    </a:lnTo>
                    <a:lnTo>
                      <a:pt x="4" y="209"/>
                    </a:lnTo>
                    <a:lnTo>
                      <a:pt x="10" y="214"/>
                    </a:lnTo>
                    <a:lnTo>
                      <a:pt x="16" y="215"/>
                    </a:lnTo>
                    <a:lnTo>
                      <a:pt x="16" y="215"/>
                    </a:lnTo>
                    <a:lnTo>
                      <a:pt x="23" y="214"/>
                    </a:lnTo>
                    <a:lnTo>
                      <a:pt x="29" y="209"/>
                    </a:lnTo>
                    <a:lnTo>
                      <a:pt x="32" y="204"/>
                    </a:lnTo>
                    <a:lnTo>
                      <a:pt x="33" y="198"/>
                    </a:lnTo>
                    <a:lnTo>
                      <a:pt x="33" y="198"/>
                    </a:lnTo>
                    <a:lnTo>
                      <a:pt x="34" y="204"/>
                    </a:lnTo>
                    <a:lnTo>
                      <a:pt x="37" y="209"/>
                    </a:lnTo>
                    <a:lnTo>
                      <a:pt x="43" y="214"/>
                    </a:lnTo>
                    <a:lnTo>
                      <a:pt x="50" y="215"/>
                    </a:lnTo>
                    <a:lnTo>
                      <a:pt x="50" y="215"/>
                    </a:lnTo>
                    <a:lnTo>
                      <a:pt x="56" y="214"/>
                    </a:lnTo>
                    <a:lnTo>
                      <a:pt x="62" y="209"/>
                    </a:lnTo>
                    <a:lnTo>
                      <a:pt x="65" y="204"/>
                    </a:lnTo>
                    <a:lnTo>
                      <a:pt x="66" y="198"/>
                    </a:lnTo>
                    <a:lnTo>
                      <a:pt x="66" y="104"/>
                    </a:lnTo>
                    <a:lnTo>
                      <a:pt x="66" y="104"/>
                    </a:lnTo>
                    <a:lnTo>
                      <a:pt x="65" y="97"/>
                    </a:lnTo>
                    <a:lnTo>
                      <a:pt x="66" y="97"/>
                    </a:lnTo>
                    <a:lnTo>
                      <a:pt x="66" y="97"/>
                    </a:lnTo>
                    <a:lnTo>
                      <a:pt x="70" y="97"/>
                    </a:lnTo>
                    <a:lnTo>
                      <a:pt x="75" y="96"/>
                    </a:lnTo>
                    <a:lnTo>
                      <a:pt x="79" y="94"/>
                    </a:lnTo>
                    <a:lnTo>
                      <a:pt x="82" y="92"/>
                    </a:lnTo>
                    <a:lnTo>
                      <a:pt x="85" y="87"/>
                    </a:lnTo>
                    <a:lnTo>
                      <a:pt x="88" y="83"/>
                    </a:lnTo>
                    <a:lnTo>
                      <a:pt x="89" y="79"/>
                    </a:lnTo>
                    <a:lnTo>
                      <a:pt x="89" y="74"/>
                    </a:lnTo>
                    <a:lnTo>
                      <a:pt x="89" y="24"/>
                    </a:lnTo>
                    <a:lnTo>
                      <a:pt x="89" y="24"/>
                    </a:lnTo>
                    <a:lnTo>
                      <a:pt x="89" y="18"/>
                    </a:lnTo>
                    <a:lnTo>
                      <a:pt x="88" y="14"/>
                    </a:lnTo>
                    <a:lnTo>
                      <a:pt x="85" y="10"/>
                    </a:lnTo>
                    <a:lnTo>
                      <a:pt x="82" y="7"/>
                    </a:lnTo>
                    <a:lnTo>
                      <a:pt x="79" y="4"/>
                    </a:lnTo>
                    <a:lnTo>
                      <a:pt x="75" y="2"/>
                    </a:lnTo>
                    <a:lnTo>
                      <a:pt x="70" y="1"/>
                    </a:lnTo>
                    <a:lnTo>
                      <a:pt x="66" y="0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1" name="Freeform 141"/>
              <p:cNvSpPr>
                <a:spLocks/>
              </p:cNvSpPr>
              <p:nvPr/>
            </p:nvSpPr>
            <p:spPr bwMode="auto">
              <a:xfrm>
                <a:off x="5756603" y="3838896"/>
                <a:ext cx="144463" cy="341313"/>
              </a:xfrm>
              <a:custGeom>
                <a:avLst/>
                <a:gdLst>
                  <a:gd name="T0" fmla="*/ 25 w 91"/>
                  <a:gd name="T1" fmla="*/ 0 h 215"/>
                  <a:gd name="T2" fmla="*/ 35 w 91"/>
                  <a:gd name="T3" fmla="*/ 0 h 215"/>
                  <a:gd name="T4" fmla="*/ 58 w 91"/>
                  <a:gd name="T5" fmla="*/ 24 h 215"/>
                  <a:gd name="T6" fmla="*/ 82 w 91"/>
                  <a:gd name="T7" fmla="*/ 0 h 215"/>
                  <a:gd name="T8" fmla="*/ 88 w 91"/>
                  <a:gd name="T9" fmla="*/ 0 h 215"/>
                  <a:gd name="T10" fmla="*/ 88 w 91"/>
                  <a:gd name="T11" fmla="*/ 0 h 215"/>
                  <a:gd name="T12" fmla="*/ 82 w 91"/>
                  <a:gd name="T13" fmla="*/ 5 h 215"/>
                  <a:gd name="T14" fmla="*/ 78 w 91"/>
                  <a:gd name="T15" fmla="*/ 11 h 215"/>
                  <a:gd name="T16" fmla="*/ 75 w 91"/>
                  <a:gd name="T17" fmla="*/ 17 h 215"/>
                  <a:gd name="T18" fmla="*/ 73 w 91"/>
                  <a:gd name="T19" fmla="*/ 25 h 215"/>
                  <a:gd name="T20" fmla="*/ 73 w 91"/>
                  <a:gd name="T21" fmla="*/ 110 h 215"/>
                  <a:gd name="T22" fmla="*/ 73 w 91"/>
                  <a:gd name="T23" fmla="*/ 110 h 215"/>
                  <a:gd name="T24" fmla="*/ 75 w 91"/>
                  <a:gd name="T25" fmla="*/ 119 h 215"/>
                  <a:gd name="T26" fmla="*/ 79 w 91"/>
                  <a:gd name="T27" fmla="*/ 126 h 215"/>
                  <a:gd name="T28" fmla="*/ 83 w 91"/>
                  <a:gd name="T29" fmla="*/ 133 h 215"/>
                  <a:gd name="T30" fmla="*/ 91 w 91"/>
                  <a:gd name="T31" fmla="*/ 137 h 215"/>
                  <a:gd name="T32" fmla="*/ 91 w 91"/>
                  <a:gd name="T33" fmla="*/ 198 h 215"/>
                  <a:gd name="T34" fmla="*/ 91 w 91"/>
                  <a:gd name="T35" fmla="*/ 198 h 215"/>
                  <a:gd name="T36" fmla="*/ 89 w 91"/>
                  <a:gd name="T37" fmla="*/ 204 h 215"/>
                  <a:gd name="T38" fmla="*/ 85 w 91"/>
                  <a:gd name="T39" fmla="*/ 209 h 215"/>
                  <a:gd name="T40" fmla="*/ 81 w 91"/>
                  <a:gd name="T41" fmla="*/ 214 h 215"/>
                  <a:gd name="T42" fmla="*/ 73 w 91"/>
                  <a:gd name="T43" fmla="*/ 215 h 215"/>
                  <a:gd name="T44" fmla="*/ 73 w 91"/>
                  <a:gd name="T45" fmla="*/ 215 h 215"/>
                  <a:gd name="T46" fmla="*/ 68 w 91"/>
                  <a:gd name="T47" fmla="*/ 214 h 215"/>
                  <a:gd name="T48" fmla="*/ 62 w 91"/>
                  <a:gd name="T49" fmla="*/ 209 h 215"/>
                  <a:gd name="T50" fmla="*/ 58 w 91"/>
                  <a:gd name="T51" fmla="*/ 204 h 215"/>
                  <a:gd name="T52" fmla="*/ 56 w 91"/>
                  <a:gd name="T53" fmla="*/ 198 h 215"/>
                  <a:gd name="T54" fmla="*/ 56 w 91"/>
                  <a:gd name="T55" fmla="*/ 198 h 215"/>
                  <a:gd name="T56" fmla="*/ 56 w 91"/>
                  <a:gd name="T57" fmla="*/ 204 h 215"/>
                  <a:gd name="T58" fmla="*/ 52 w 91"/>
                  <a:gd name="T59" fmla="*/ 209 h 215"/>
                  <a:gd name="T60" fmla="*/ 46 w 91"/>
                  <a:gd name="T61" fmla="*/ 214 h 215"/>
                  <a:gd name="T62" fmla="*/ 40 w 91"/>
                  <a:gd name="T63" fmla="*/ 215 h 215"/>
                  <a:gd name="T64" fmla="*/ 40 w 91"/>
                  <a:gd name="T65" fmla="*/ 215 h 215"/>
                  <a:gd name="T66" fmla="*/ 33 w 91"/>
                  <a:gd name="T67" fmla="*/ 214 h 215"/>
                  <a:gd name="T68" fmla="*/ 29 w 91"/>
                  <a:gd name="T69" fmla="*/ 209 h 215"/>
                  <a:gd name="T70" fmla="*/ 25 w 91"/>
                  <a:gd name="T71" fmla="*/ 204 h 215"/>
                  <a:gd name="T72" fmla="*/ 23 w 91"/>
                  <a:gd name="T73" fmla="*/ 198 h 215"/>
                  <a:gd name="T74" fmla="*/ 23 w 91"/>
                  <a:gd name="T75" fmla="*/ 104 h 215"/>
                  <a:gd name="T76" fmla="*/ 23 w 91"/>
                  <a:gd name="T77" fmla="*/ 104 h 215"/>
                  <a:gd name="T78" fmla="*/ 25 w 91"/>
                  <a:gd name="T79" fmla="*/ 97 h 215"/>
                  <a:gd name="T80" fmla="*/ 25 w 91"/>
                  <a:gd name="T81" fmla="*/ 97 h 215"/>
                  <a:gd name="T82" fmla="*/ 25 w 91"/>
                  <a:gd name="T83" fmla="*/ 97 h 215"/>
                  <a:gd name="T84" fmla="*/ 19 w 91"/>
                  <a:gd name="T85" fmla="*/ 97 h 215"/>
                  <a:gd name="T86" fmla="*/ 14 w 91"/>
                  <a:gd name="T87" fmla="*/ 96 h 215"/>
                  <a:gd name="T88" fmla="*/ 12 w 91"/>
                  <a:gd name="T89" fmla="*/ 94 h 215"/>
                  <a:gd name="T90" fmla="*/ 7 w 91"/>
                  <a:gd name="T91" fmla="*/ 92 h 215"/>
                  <a:gd name="T92" fmla="*/ 4 w 91"/>
                  <a:gd name="T93" fmla="*/ 87 h 215"/>
                  <a:gd name="T94" fmla="*/ 3 w 91"/>
                  <a:gd name="T95" fmla="*/ 83 h 215"/>
                  <a:gd name="T96" fmla="*/ 2 w 91"/>
                  <a:gd name="T97" fmla="*/ 79 h 215"/>
                  <a:gd name="T98" fmla="*/ 0 w 91"/>
                  <a:gd name="T99" fmla="*/ 74 h 215"/>
                  <a:gd name="T100" fmla="*/ 0 w 91"/>
                  <a:gd name="T101" fmla="*/ 24 h 215"/>
                  <a:gd name="T102" fmla="*/ 0 w 91"/>
                  <a:gd name="T103" fmla="*/ 24 h 215"/>
                  <a:gd name="T104" fmla="*/ 2 w 91"/>
                  <a:gd name="T105" fmla="*/ 18 h 215"/>
                  <a:gd name="T106" fmla="*/ 3 w 91"/>
                  <a:gd name="T107" fmla="*/ 14 h 215"/>
                  <a:gd name="T108" fmla="*/ 4 w 91"/>
                  <a:gd name="T109" fmla="*/ 10 h 215"/>
                  <a:gd name="T110" fmla="*/ 7 w 91"/>
                  <a:gd name="T111" fmla="*/ 7 h 215"/>
                  <a:gd name="T112" fmla="*/ 12 w 91"/>
                  <a:gd name="T113" fmla="*/ 4 h 215"/>
                  <a:gd name="T114" fmla="*/ 14 w 91"/>
                  <a:gd name="T115" fmla="*/ 2 h 215"/>
                  <a:gd name="T116" fmla="*/ 19 w 91"/>
                  <a:gd name="T117" fmla="*/ 1 h 215"/>
                  <a:gd name="T118" fmla="*/ 25 w 91"/>
                  <a:gd name="T119" fmla="*/ 0 h 215"/>
                  <a:gd name="T120" fmla="*/ 25 w 91"/>
                  <a:gd name="T12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1" h="215">
                    <a:moveTo>
                      <a:pt x="25" y="0"/>
                    </a:moveTo>
                    <a:lnTo>
                      <a:pt x="35" y="0"/>
                    </a:lnTo>
                    <a:lnTo>
                      <a:pt x="58" y="24"/>
                    </a:lnTo>
                    <a:lnTo>
                      <a:pt x="82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2" y="5"/>
                    </a:lnTo>
                    <a:lnTo>
                      <a:pt x="78" y="11"/>
                    </a:lnTo>
                    <a:lnTo>
                      <a:pt x="75" y="17"/>
                    </a:lnTo>
                    <a:lnTo>
                      <a:pt x="73" y="25"/>
                    </a:lnTo>
                    <a:lnTo>
                      <a:pt x="73" y="110"/>
                    </a:lnTo>
                    <a:lnTo>
                      <a:pt x="73" y="110"/>
                    </a:lnTo>
                    <a:lnTo>
                      <a:pt x="75" y="119"/>
                    </a:lnTo>
                    <a:lnTo>
                      <a:pt x="79" y="126"/>
                    </a:lnTo>
                    <a:lnTo>
                      <a:pt x="83" y="133"/>
                    </a:lnTo>
                    <a:lnTo>
                      <a:pt x="91" y="137"/>
                    </a:lnTo>
                    <a:lnTo>
                      <a:pt x="91" y="198"/>
                    </a:lnTo>
                    <a:lnTo>
                      <a:pt x="91" y="198"/>
                    </a:lnTo>
                    <a:lnTo>
                      <a:pt x="89" y="204"/>
                    </a:lnTo>
                    <a:lnTo>
                      <a:pt x="85" y="209"/>
                    </a:lnTo>
                    <a:lnTo>
                      <a:pt x="81" y="214"/>
                    </a:lnTo>
                    <a:lnTo>
                      <a:pt x="73" y="215"/>
                    </a:lnTo>
                    <a:lnTo>
                      <a:pt x="73" y="215"/>
                    </a:lnTo>
                    <a:lnTo>
                      <a:pt x="68" y="214"/>
                    </a:lnTo>
                    <a:lnTo>
                      <a:pt x="62" y="209"/>
                    </a:lnTo>
                    <a:lnTo>
                      <a:pt x="58" y="204"/>
                    </a:lnTo>
                    <a:lnTo>
                      <a:pt x="56" y="198"/>
                    </a:lnTo>
                    <a:lnTo>
                      <a:pt x="56" y="198"/>
                    </a:lnTo>
                    <a:lnTo>
                      <a:pt x="56" y="204"/>
                    </a:lnTo>
                    <a:lnTo>
                      <a:pt x="52" y="209"/>
                    </a:lnTo>
                    <a:lnTo>
                      <a:pt x="46" y="214"/>
                    </a:lnTo>
                    <a:lnTo>
                      <a:pt x="40" y="215"/>
                    </a:lnTo>
                    <a:lnTo>
                      <a:pt x="40" y="215"/>
                    </a:lnTo>
                    <a:lnTo>
                      <a:pt x="33" y="214"/>
                    </a:lnTo>
                    <a:lnTo>
                      <a:pt x="29" y="209"/>
                    </a:lnTo>
                    <a:lnTo>
                      <a:pt x="25" y="204"/>
                    </a:lnTo>
                    <a:lnTo>
                      <a:pt x="23" y="198"/>
                    </a:lnTo>
                    <a:lnTo>
                      <a:pt x="23" y="104"/>
                    </a:lnTo>
                    <a:lnTo>
                      <a:pt x="23" y="104"/>
                    </a:lnTo>
                    <a:lnTo>
                      <a:pt x="25" y="97"/>
                    </a:lnTo>
                    <a:lnTo>
                      <a:pt x="25" y="97"/>
                    </a:lnTo>
                    <a:lnTo>
                      <a:pt x="25" y="97"/>
                    </a:lnTo>
                    <a:lnTo>
                      <a:pt x="19" y="97"/>
                    </a:lnTo>
                    <a:lnTo>
                      <a:pt x="14" y="96"/>
                    </a:lnTo>
                    <a:lnTo>
                      <a:pt x="12" y="94"/>
                    </a:lnTo>
                    <a:lnTo>
                      <a:pt x="7" y="92"/>
                    </a:lnTo>
                    <a:lnTo>
                      <a:pt x="4" y="87"/>
                    </a:lnTo>
                    <a:lnTo>
                      <a:pt x="3" y="83"/>
                    </a:lnTo>
                    <a:lnTo>
                      <a:pt x="2" y="79"/>
                    </a:lnTo>
                    <a:lnTo>
                      <a:pt x="0" y="7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3" y="14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2" y="4"/>
                    </a:lnTo>
                    <a:lnTo>
                      <a:pt x="14" y="2"/>
                    </a:lnTo>
                    <a:lnTo>
                      <a:pt x="19" y="1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1610409" y="4967071"/>
              <a:ext cx="660587" cy="412750"/>
              <a:chOff x="3838054" y="6028818"/>
              <a:chExt cx="654050" cy="412750"/>
            </a:xfrm>
          </p:grpSpPr>
          <p:sp>
            <p:nvSpPr>
              <p:cNvPr id="113" name="Freeform 154"/>
              <p:cNvSpPr>
                <a:spLocks/>
              </p:cNvSpPr>
              <p:nvPr/>
            </p:nvSpPr>
            <p:spPr bwMode="auto">
              <a:xfrm>
                <a:off x="3838054" y="6112955"/>
                <a:ext cx="336550" cy="328613"/>
              </a:xfrm>
              <a:custGeom>
                <a:avLst/>
                <a:gdLst>
                  <a:gd name="T0" fmla="*/ 86 w 212"/>
                  <a:gd name="T1" fmla="*/ 62 h 207"/>
                  <a:gd name="T2" fmla="*/ 86 w 212"/>
                  <a:gd name="T3" fmla="*/ 62 h 207"/>
                  <a:gd name="T4" fmla="*/ 87 w 212"/>
                  <a:gd name="T5" fmla="*/ 46 h 207"/>
                  <a:gd name="T6" fmla="*/ 92 w 212"/>
                  <a:gd name="T7" fmla="*/ 30 h 207"/>
                  <a:gd name="T8" fmla="*/ 97 w 212"/>
                  <a:gd name="T9" fmla="*/ 14 h 207"/>
                  <a:gd name="T10" fmla="*/ 106 w 212"/>
                  <a:gd name="T11" fmla="*/ 0 h 207"/>
                  <a:gd name="T12" fmla="*/ 106 w 212"/>
                  <a:gd name="T13" fmla="*/ 0 h 207"/>
                  <a:gd name="T14" fmla="*/ 86 w 212"/>
                  <a:gd name="T15" fmla="*/ 6 h 207"/>
                  <a:gd name="T16" fmla="*/ 67 w 212"/>
                  <a:gd name="T17" fmla="*/ 14 h 207"/>
                  <a:gd name="T18" fmla="*/ 51 w 212"/>
                  <a:gd name="T19" fmla="*/ 24 h 207"/>
                  <a:gd name="T20" fmla="*/ 37 w 212"/>
                  <a:gd name="T21" fmla="*/ 36 h 207"/>
                  <a:gd name="T22" fmla="*/ 24 w 212"/>
                  <a:gd name="T23" fmla="*/ 50 h 207"/>
                  <a:gd name="T24" fmla="*/ 16 w 212"/>
                  <a:gd name="T25" fmla="*/ 65 h 207"/>
                  <a:gd name="T26" fmla="*/ 13 w 212"/>
                  <a:gd name="T27" fmla="*/ 73 h 207"/>
                  <a:gd name="T28" fmla="*/ 11 w 212"/>
                  <a:gd name="T29" fmla="*/ 80 h 207"/>
                  <a:gd name="T30" fmla="*/ 10 w 212"/>
                  <a:gd name="T31" fmla="*/ 89 h 207"/>
                  <a:gd name="T32" fmla="*/ 8 w 212"/>
                  <a:gd name="T33" fmla="*/ 98 h 207"/>
                  <a:gd name="T34" fmla="*/ 8 w 212"/>
                  <a:gd name="T35" fmla="*/ 98 h 207"/>
                  <a:gd name="T36" fmla="*/ 10 w 212"/>
                  <a:gd name="T37" fmla="*/ 112 h 207"/>
                  <a:gd name="T38" fmla="*/ 14 w 212"/>
                  <a:gd name="T39" fmla="*/ 125 h 207"/>
                  <a:gd name="T40" fmla="*/ 18 w 212"/>
                  <a:gd name="T41" fmla="*/ 138 h 207"/>
                  <a:gd name="T42" fmla="*/ 27 w 212"/>
                  <a:gd name="T43" fmla="*/ 149 h 207"/>
                  <a:gd name="T44" fmla="*/ 0 w 212"/>
                  <a:gd name="T45" fmla="*/ 207 h 207"/>
                  <a:gd name="T46" fmla="*/ 80 w 212"/>
                  <a:gd name="T47" fmla="*/ 188 h 207"/>
                  <a:gd name="T48" fmla="*/ 80 w 212"/>
                  <a:gd name="T49" fmla="*/ 188 h 207"/>
                  <a:gd name="T50" fmla="*/ 93 w 212"/>
                  <a:gd name="T51" fmla="*/ 194 h 207"/>
                  <a:gd name="T52" fmla="*/ 109 w 212"/>
                  <a:gd name="T53" fmla="*/ 197 h 207"/>
                  <a:gd name="T54" fmla="*/ 125 w 212"/>
                  <a:gd name="T55" fmla="*/ 200 h 207"/>
                  <a:gd name="T56" fmla="*/ 141 w 212"/>
                  <a:gd name="T57" fmla="*/ 200 h 207"/>
                  <a:gd name="T58" fmla="*/ 141 w 212"/>
                  <a:gd name="T59" fmla="*/ 200 h 207"/>
                  <a:gd name="T60" fmla="*/ 161 w 212"/>
                  <a:gd name="T61" fmla="*/ 198 h 207"/>
                  <a:gd name="T62" fmla="*/ 179 w 212"/>
                  <a:gd name="T63" fmla="*/ 195 h 207"/>
                  <a:gd name="T64" fmla="*/ 197 w 212"/>
                  <a:gd name="T65" fmla="*/ 191 h 207"/>
                  <a:gd name="T66" fmla="*/ 212 w 212"/>
                  <a:gd name="T67" fmla="*/ 184 h 207"/>
                  <a:gd name="T68" fmla="*/ 212 w 212"/>
                  <a:gd name="T69" fmla="*/ 184 h 207"/>
                  <a:gd name="T70" fmla="*/ 200 w 212"/>
                  <a:gd name="T71" fmla="*/ 181 h 207"/>
                  <a:gd name="T72" fmla="*/ 187 w 212"/>
                  <a:gd name="T73" fmla="*/ 178 h 207"/>
                  <a:gd name="T74" fmla="*/ 175 w 212"/>
                  <a:gd name="T75" fmla="*/ 174 h 207"/>
                  <a:gd name="T76" fmla="*/ 162 w 212"/>
                  <a:gd name="T77" fmla="*/ 170 h 207"/>
                  <a:gd name="T78" fmla="*/ 152 w 212"/>
                  <a:gd name="T79" fmla="*/ 164 h 207"/>
                  <a:gd name="T80" fmla="*/ 141 w 212"/>
                  <a:gd name="T81" fmla="*/ 158 h 207"/>
                  <a:gd name="T82" fmla="*/ 132 w 212"/>
                  <a:gd name="T83" fmla="*/ 151 h 207"/>
                  <a:gd name="T84" fmla="*/ 122 w 212"/>
                  <a:gd name="T85" fmla="*/ 142 h 207"/>
                  <a:gd name="T86" fmla="*/ 115 w 212"/>
                  <a:gd name="T87" fmla="*/ 135 h 207"/>
                  <a:gd name="T88" fmla="*/ 108 w 212"/>
                  <a:gd name="T89" fmla="*/ 125 h 207"/>
                  <a:gd name="T90" fmla="*/ 100 w 212"/>
                  <a:gd name="T91" fmla="*/ 116 h 207"/>
                  <a:gd name="T92" fmla="*/ 96 w 212"/>
                  <a:gd name="T93" fmla="*/ 106 h 207"/>
                  <a:gd name="T94" fmla="*/ 92 w 212"/>
                  <a:gd name="T95" fmla="*/ 95 h 207"/>
                  <a:gd name="T96" fmla="*/ 89 w 212"/>
                  <a:gd name="T97" fmla="*/ 85 h 207"/>
                  <a:gd name="T98" fmla="*/ 86 w 212"/>
                  <a:gd name="T99" fmla="*/ 73 h 207"/>
                  <a:gd name="T100" fmla="*/ 86 w 212"/>
                  <a:gd name="T101" fmla="*/ 62 h 207"/>
                  <a:gd name="T102" fmla="*/ 86 w 212"/>
                  <a:gd name="T103" fmla="*/ 62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" h="207">
                    <a:moveTo>
                      <a:pt x="86" y="62"/>
                    </a:moveTo>
                    <a:lnTo>
                      <a:pt x="86" y="62"/>
                    </a:lnTo>
                    <a:lnTo>
                      <a:pt x="87" y="46"/>
                    </a:lnTo>
                    <a:lnTo>
                      <a:pt x="92" y="30"/>
                    </a:lnTo>
                    <a:lnTo>
                      <a:pt x="97" y="14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86" y="6"/>
                    </a:lnTo>
                    <a:lnTo>
                      <a:pt x="67" y="14"/>
                    </a:lnTo>
                    <a:lnTo>
                      <a:pt x="51" y="24"/>
                    </a:lnTo>
                    <a:lnTo>
                      <a:pt x="37" y="36"/>
                    </a:lnTo>
                    <a:lnTo>
                      <a:pt x="24" y="50"/>
                    </a:lnTo>
                    <a:lnTo>
                      <a:pt x="16" y="65"/>
                    </a:lnTo>
                    <a:lnTo>
                      <a:pt x="13" y="73"/>
                    </a:lnTo>
                    <a:lnTo>
                      <a:pt x="11" y="80"/>
                    </a:lnTo>
                    <a:lnTo>
                      <a:pt x="10" y="89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10" y="112"/>
                    </a:lnTo>
                    <a:lnTo>
                      <a:pt x="14" y="125"/>
                    </a:lnTo>
                    <a:lnTo>
                      <a:pt x="18" y="138"/>
                    </a:lnTo>
                    <a:lnTo>
                      <a:pt x="27" y="149"/>
                    </a:lnTo>
                    <a:lnTo>
                      <a:pt x="0" y="207"/>
                    </a:lnTo>
                    <a:lnTo>
                      <a:pt x="80" y="188"/>
                    </a:lnTo>
                    <a:lnTo>
                      <a:pt x="80" y="188"/>
                    </a:lnTo>
                    <a:lnTo>
                      <a:pt x="93" y="194"/>
                    </a:lnTo>
                    <a:lnTo>
                      <a:pt x="109" y="197"/>
                    </a:lnTo>
                    <a:lnTo>
                      <a:pt x="125" y="200"/>
                    </a:lnTo>
                    <a:lnTo>
                      <a:pt x="141" y="200"/>
                    </a:lnTo>
                    <a:lnTo>
                      <a:pt x="141" y="200"/>
                    </a:lnTo>
                    <a:lnTo>
                      <a:pt x="161" y="198"/>
                    </a:lnTo>
                    <a:lnTo>
                      <a:pt x="179" y="195"/>
                    </a:lnTo>
                    <a:lnTo>
                      <a:pt x="197" y="191"/>
                    </a:lnTo>
                    <a:lnTo>
                      <a:pt x="212" y="184"/>
                    </a:lnTo>
                    <a:lnTo>
                      <a:pt x="212" y="184"/>
                    </a:lnTo>
                    <a:lnTo>
                      <a:pt x="200" y="181"/>
                    </a:lnTo>
                    <a:lnTo>
                      <a:pt x="187" y="178"/>
                    </a:lnTo>
                    <a:lnTo>
                      <a:pt x="175" y="174"/>
                    </a:lnTo>
                    <a:lnTo>
                      <a:pt x="162" y="170"/>
                    </a:lnTo>
                    <a:lnTo>
                      <a:pt x="152" y="164"/>
                    </a:lnTo>
                    <a:lnTo>
                      <a:pt x="141" y="158"/>
                    </a:lnTo>
                    <a:lnTo>
                      <a:pt x="132" y="151"/>
                    </a:lnTo>
                    <a:lnTo>
                      <a:pt x="122" y="142"/>
                    </a:lnTo>
                    <a:lnTo>
                      <a:pt x="115" y="135"/>
                    </a:lnTo>
                    <a:lnTo>
                      <a:pt x="108" y="125"/>
                    </a:lnTo>
                    <a:lnTo>
                      <a:pt x="100" y="116"/>
                    </a:lnTo>
                    <a:lnTo>
                      <a:pt x="96" y="106"/>
                    </a:lnTo>
                    <a:lnTo>
                      <a:pt x="92" y="95"/>
                    </a:lnTo>
                    <a:lnTo>
                      <a:pt x="89" y="85"/>
                    </a:lnTo>
                    <a:lnTo>
                      <a:pt x="86" y="73"/>
                    </a:lnTo>
                    <a:lnTo>
                      <a:pt x="86" y="62"/>
                    </a:lnTo>
                    <a:lnTo>
                      <a:pt x="86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4" name="Freeform 155"/>
              <p:cNvSpPr>
                <a:spLocks noEditPoints="1"/>
              </p:cNvSpPr>
              <p:nvPr/>
            </p:nvSpPr>
            <p:spPr bwMode="auto">
              <a:xfrm>
                <a:off x="4006329" y="6028818"/>
                <a:ext cx="485775" cy="376238"/>
              </a:xfrm>
              <a:custGeom>
                <a:avLst/>
                <a:gdLst>
                  <a:gd name="T0" fmla="*/ 206 w 306"/>
                  <a:gd name="T1" fmla="*/ 214 h 237"/>
                  <a:gd name="T2" fmla="*/ 160 w 306"/>
                  <a:gd name="T3" fmla="*/ 225 h 237"/>
                  <a:gd name="T4" fmla="*/ 129 w 306"/>
                  <a:gd name="T5" fmla="*/ 225 h 237"/>
                  <a:gd name="T6" fmla="*/ 88 w 306"/>
                  <a:gd name="T7" fmla="*/ 217 h 237"/>
                  <a:gd name="T8" fmla="*/ 52 w 306"/>
                  <a:gd name="T9" fmla="*/ 200 h 237"/>
                  <a:gd name="T10" fmla="*/ 25 w 306"/>
                  <a:gd name="T11" fmla="*/ 175 h 237"/>
                  <a:gd name="T12" fmla="*/ 6 w 306"/>
                  <a:gd name="T13" fmla="*/ 146 h 237"/>
                  <a:gd name="T14" fmla="*/ 0 w 306"/>
                  <a:gd name="T15" fmla="*/ 112 h 237"/>
                  <a:gd name="T16" fmla="*/ 3 w 306"/>
                  <a:gd name="T17" fmla="*/ 90 h 237"/>
                  <a:gd name="T18" fmla="*/ 17 w 306"/>
                  <a:gd name="T19" fmla="*/ 59 h 237"/>
                  <a:gd name="T20" fmla="*/ 42 w 306"/>
                  <a:gd name="T21" fmla="*/ 33 h 237"/>
                  <a:gd name="T22" fmla="*/ 75 w 306"/>
                  <a:gd name="T23" fmla="*/ 13 h 237"/>
                  <a:gd name="T24" fmla="*/ 115 w 306"/>
                  <a:gd name="T25" fmla="*/ 1 h 237"/>
                  <a:gd name="T26" fmla="*/ 144 w 306"/>
                  <a:gd name="T27" fmla="*/ 0 h 237"/>
                  <a:gd name="T28" fmla="*/ 187 w 306"/>
                  <a:gd name="T29" fmla="*/ 4 h 237"/>
                  <a:gd name="T30" fmla="*/ 224 w 306"/>
                  <a:gd name="T31" fmla="*/ 18 h 237"/>
                  <a:gd name="T32" fmla="*/ 254 w 306"/>
                  <a:gd name="T33" fmla="*/ 40 h 237"/>
                  <a:gd name="T34" fmla="*/ 276 w 306"/>
                  <a:gd name="T35" fmla="*/ 69 h 237"/>
                  <a:gd name="T36" fmla="*/ 286 w 306"/>
                  <a:gd name="T37" fmla="*/ 100 h 237"/>
                  <a:gd name="T38" fmla="*/ 286 w 306"/>
                  <a:gd name="T39" fmla="*/ 126 h 237"/>
                  <a:gd name="T40" fmla="*/ 272 w 306"/>
                  <a:gd name="T41" fmla="*/ 165 h 237"/>
                  <a:gd name="T42" fmla="*/ 265 w 306"/>
                  <a:gd name="T43" fmla="*/ 204 h 237"/>
                  <a:gd name="T44" fmla="*/ 249 w 306"/>
                  <a:gd name="T45" fmla="*/ 156 h 237"/>
                  <a:gd name="T46" fmla="*/ 263 w 306"/>
                  <a:gd name="T47" fmla="*/ 123 h 237"/>
                  <a:gd name="T48" fmla="*/ 265 w 306"/>
                  <a:gd name="T49" fmla="*/ 103 h 237"/>
                  <a:gd name="T50" fmla="*/ 254 w 306"/>
                  <a:gd name="T51" fmla="*/ 77 h 237"/>
                  <a:gd name="T52" fmla="*/ 237 w 306"/>
                  <a:gd name="T53" fmla="*/ 56 h 237"/>
                  <a:gd name="T54" fmla="*/ 211 w 306"/>
                  <a:gd name="T55" fmla="*/ 37 h 237"/>
                  <a:gd name="T56" fmla="*/ 180 w 306"/>
                  <a:gd name="T57" fmla="*/ 26 h 237"/>
                  <a:gd name="T58" fmla="*/ 144 w 306"/>
                  <a:gd name="T59" fmla="*/ 23 h 237"/>
                  <a:gd name="T60" fmla="*/ 119 w 306"/>
                  <a:gd name="T61" fmla="*/ 24 h 237"/>
                  <a:gd name="T62" fmla="*/ 86 w 306"/>
                  <a:gd name="T63" fmla="*/ 33 h 237"/>
                  <a:gd name="T64" fmla="*/ 59 w 306"/>
                  <a:gd name="T65" fmla="*/ 49 h 237"/>
                  <a:gd name="T66" fmla="*/ 37 w 306"/>
                  <a:gd name="T67" fmla="*/ 70 h 237"/>
                  <a:gd name="T68" fmla="*/ 26 w 306"/>
                  <a:gd name="T69" fmla="*/ 95 h 237"/>
                  <a:gd name="T70" fmla="*/ 23 w 306"/>
                  <a:gd name="T71" fmla="*/ 112 h 237"/>
                  <a:gd name="T72" fmla="*/ 29 w 306"/>
                  <a:gd name="T73" fmla="*/ 139 h 237"/>
                  <a:gd name="T74" fmla="*/ 43 w 306"/>
                  <a:gd name="T75" fmla="*/ 164 h 237"/>
                  <a:gd name="T76" fmla="*/ 68 w 306"/>
                  <a:gd name="T77" fmla="*/ 182 h 237"/>
                  <a:gd name="T78" fmla="*/ 96 w 306"/>
                  <a:gd name="T79" fmla="*/ 195 h 237"/>
                  <a:gd name="T80" fmla="*/ 131 w 306"/>
                  <a:gd name="T81" fmla="*/ 202 h 237"/>
                  <a:gd name="T82" fmla="*/ 158 w 306"/>
                  <a:gd name="T83" fmla="*/ 202 h 237"/>
                  <a:gd name="T84" fmla="*/ 201 w 306"/>
                  <a:gd name="T85" fmla="*/ 19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6" h="237">
                    <a:moveTo>
                      <a:pt x="306" y="237"/>
                    </a:moveTo>
                    <a:lnTo>
                      <a:pt x="206" y="214"/>
                    </a:lnTo>
                    <a:lnTo>
                      <a:pt x="206" y="214"/>
                    </a:lnTo>
                    <a:lnTo>
                      <a:pt x="191" y="220"/>
                    </a:lnTo>
                    <a:lnTo>
                      <a:pt x="175" y="223"/>
                    </a:lnTo>
                    <a:lnTo>
                      <a:pt x="160" y="225"/>
                    </a:lnTo>
                    <a:lnTo>
                      <a:pt x="144" y="225"/>
                    </a:lnTo>
                    <a:lnTo>
                      <a:pt x="144" y="225"/>
                    </a:lnTo>
                    <a:lnTo>
                      <a:pt x="129" y="225"/>
                    </a:lnTo>
                    <a:lnTo>
                      <a:pt x="115" y="224"/>
                    </a:lnTo>
                    <a:lnTo>
                      <a:pt x="101" y="221"/>
                    </a:lnTo>
                    <a:lnTo>
                      <a:pt x="88" y="217"/>
                    </a:lnTo>
                    <a:lnTo>
                      <a:pt x="75" y="213"/>
                    </a:lnTo>
                    <a:lnTo>
                      <a:pt x="63" y="207"/>
                    </a:lnTo>
                    <a:lnTo>
                      <a:pt x="52" y="200"/>
                    </a:lnTo>
                    <a:lnTo>
                      <a:pt x="42" y="192"/>
                    </a:lnTo>
                    <a:lnTo>
                      <a:pt x="33" y="185"/>
                    </a:lnTo>
                    <a:lnTo>
                      <a:pt x="25" y="175"/>
                    </a:lnTo>
                    <a:lnTo>
                      <a:pt x="17" y="167"/>
                    </a:lnTo>
                    <a:lnTo>
                      <a:pt x="12" y="156"/>
                    </a:lnTo>
                    <a:lnTo>
                      <a:pt x="6" y="146"/>
                    </a:lnTo>
                    <a:lnTo>
                      <a:pt x="3" y="135"/>
                    </a:lnTo>
                    <a:lnTo>
                      <a:pt x="0" y="123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3" y="90"/>
                    </a:lnTo>
                    <a:lnTo>
                      <a:pt x="6" y="79"/>
                    </a:lnTo>
                    <a:lnTo>
                      <a:pt x="12" y="69"/>
                    </a:lnTo>
                    <a:lnTo>
                      <a:pt x="17" y="59"/>
                    </a:lnTo>
                    <a:lnTo>
                      <a:pt x="25" y="49"/>
                    </a:lnTo>
                    <a:lnTo>
                      <a:pt x="33" y="40"/>
                    </a:lnTo>
                    <a:lnTo>
                      <a:pt x="42" y="33"/>
                    </a:lnTo>
                    <a:lnTo>
                      <a:pt x="52" y="26"/>
                    </a:lnTo>
                    <a:lnTo>
                      <a:pt x="63" y="18"/>
                    </a:lnTo>
                    <a:lnTo>
                      <a:pt x="75" y="13"/>
                    </a:lnTo>
                    <a:lnTo>
                      <a:pt x="88" y="8"/>
                    </a:lnTo>
                    <a:lnTo>
                      <a:pt x="101" y="4"/>
                    </a:lnTo>
                    <a:lnTo>
                      <a:pt x="115" y="1"/>
                    </a:lnTo>
                    <a:lnTo>
                      <a:pt x="129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58" y="0"/>
                    </a:lnTo>
                    <a:lnTo>
                      <a:pt x="173" y="1"/>
                    </a:lnTo>
                    <a:lnTo>
                      <a:pt x="187" y="4"/>
                    </a:lnTo>
                    <a:lnTo>
                      <a:pt x="200" y="8"/>
                    </a:lnTo>
                    <a:lnTo>
                      <a:pt x="213" y="13"/>
                    </a:lnTo>
                    <a:lnTo>
                      <a:pt x="224" y="18"/>
                    </a:lnTo>
                    <a:lnTo>
                      <a:pt x="236" y="26"/>
                    </a:lnTo>
                    <a:lnTo>
                      <a:pt x="246" y="33"/>
                    </a:lnTo>
                    <a:lnTo>
                      <a:pt x="254" y="40"/>
                    </a:lnTo>
                    <a:lnTo>
                      <a:pt x="263" y="49"/>
                    </a:lnTo>
                    <a:lnTo>
                      <a:pt x="270" y="59"/>
                    </a:lnTo>
                    <a:lnTo>
                      <a:pt x="276" y="69"/>
                    </a:lnTo>
                    <a:lnTo>
                      <a:pt x="280" y="79"/>
                    </a:lnTo>
                    <a:lnTo>
                      <a:pt x="285" y="90"/>
                    </a:lnTo>
                    <a:lnTo>
                      <a:pt x="286" y="100"/>
                    </a:lnTo>
                    <a:lnTo>
                      <a:pt x="288" y="112"/>
                    </a:lnTo>
                    <a:lnTo>
                      <a:pt x="288" y="112"/>
                    </a:lnTo>
                    <a:lnTo>
                      <a:pt x="286" y="126"/>
                    </a:lnTo>
                    <a:lnTo>
                      <a:pt x="283" y="139"/>
                    </a:lnTo>
                    <a:lnTo>
                      <a:pt x="279" y="152"/>
                    </a:lnTo>
                    <a:lnTo>
                      <a:pt x="272" y="165"/>
                    </a:lnTo>
                    <a:lnTo>
                      <a:pt x="306" y="237"/>
                    </a:lnTo>
                    <a:close/>
                    <a:moveTo>
                      <a:pt x="204" y="191"/>
                    </a:moveTo>
                    <a:lnTo>
                      <a:pt x="265" y="204"/>
                    </a:lnTo>
                    <a:lnTo>
                      <a:pt x="244" y="162"/>
                    </a:lnTo>
                    <a:lnTo>
                      <a:pt x="249" y="156"/>
                    </a:lnTo>
                    <a:lnTo>
                      <a:pt x="249" y="156"/>
                    </a:lnTo>
                    <a:lnTo>
                      <a:pt x="256" y="146"/>
                    </a:lnTo>
                    <a:lnTo>
                      <a:pt x="260" y="135"/>
                    </a:lnTo>
                    <a:lnTo>
                      <a:pt x="263" y="123"/>
                    </a:lnTo>
                    <a:lnTo>
                      <a:pt x="265" y="112"/>
                    </a:lnTo>
                    <a:lnTo>
                      <a:pt x="265" y="112"/>
                    </a:lnTo>
                    <a:lnTo>
                      <a:pt x="265" y="103"/>
                    </a:lnTo>
                    <a:lnTo>
                      <a:pt x="262" y="95"/>
                    </a:lnTo>
                    <a:lnTo>
                      <a:pt x="259" y="86"/>
                    </a:lnTo>
                    <a:lnTo>
                      <a:pt x="254" y="77"/>
                    </a:lnTo>
                    <a:lnTo>
                      <a:pt x="250" y="70"/>
                    </a:lnTo>
                    <a:lnTo>
                      <a:pt x="244" y="62"/>
                    </a:lnTo>
                    <a:lnTo>
                      <a:pt x="237" y="56"/>
                    </a:lnTo>
                    <a:lnTo>
                      <a:pt x="229" y="49"/>
                    </a:lnTo>
                    <a:lnTo>
                      <a:pt x="220" y="43"/>
                    </a:lnTo>
                    <a:lnTo>
                      <a:pt x="211" y="37"/>
                    </a:lnTo>
                    <a:lnTo>
                      <a:pt x="201" y="33"/>
                    </a:lnTo>
                    <a:lnTo>
                      <a:pt x="191" y="30"/>
                    </a:lnTo>
                    <a:lnTo>
                      <a:pt x="180" y="26"/>
                    </a:lnTo>
                    <a:lnTo>
                      <a:pt x="168" y="24"/>
                    </a:lnTo>
                    <a:lnTo>
                      <a:pt x="157" y="23"/>
                    </a:lnTo>
                    <a:lnTo>
                      <a:pt x="144" y="23"/>
                    </a:lnTo>
                    <a:lnTo>
                      <a:pt x="144" y="23"/>
                    </a:lnTo>
                    <a:lnTo>
                      <a:pt x="131" y="23"/>
                    </a:lnTo>
                    <a:lnTo>
                      <a:pt x="119" y="24"/>
                    </a:lnTo>
                    <a:lnTo>
                      <a:pt x="108" y="26"/>
                    </a:lnTo>
                    <a:lnTo>
                      <a:pt x="96" y="30"/>
                    </a:lnTo>
                    <a:lnTo>
                      <a:pt x="86" y="33"/>
                    </a:lnTo>
                    <a:lnTo>
                      <a:pt x="76" y="37"/>
                    </a:lnTo>
                    <a:lnTo>
                      <a:pt x="68" y="43"/>
                    </a:lnTo>
                    <a:lnTo>
                      <a:pt x="59" y="49"/>
                    </a:lnTo>
                    <a:lnTo>
                      <a:pt x="50" y="56"/>
                    </a:lnTo>
                    <a:lnTo>
                      <a:pt x="43" y="62"/>
                    </a:lnTo>
                    <a:lnTo>
                      <a:pt x="37" y="70"/>
                    </a:lnTo>
                    <a:lnTo>
                      <a:pt x="33" y="77"/>
                    </a:lnTo>
                    <a:lnTo>
                      <a:pt x="29" y="86"/>
                    </a:lnTo>
                    <a:lnTo>
                      <a:pt x="26" y="95"/>
                    </a:lnTo>
                    <a:lnTo>
                      <a:pt x="23" y="103"/>
                    </a:lnTo>
                    <a:lnTo>
                      <a:pt x="23" y="112"/>
                    </a:lnTo>
                    <a:lnTo>
                      <a:pt x="23" y="112"/>
                    </a:lnTo>
                    <a:lnTo>
                      <a:pt x="23" y="122"/>
                    </a:lnTo>
                    <a:lnTo>
                      <a:pt x="26" y="131"/>
                    </a:lnTo>
                    <a:lnTo>
                      <a:pt x="29" y="139"/>
                    </a:lnTo>
                    <a:lnTo>
                      <a:pt x="33" y="148"/>
                    </a:lnTo>
                    <a:lnTo>
                      <a:pt x="37" y="155"/>
                    </a:lnTo>
                    <a:lnTo>
                      <a:pt x="43" y="164"/>
                    </a:lnTo>
                    <a:lnTo>
                      <a:pt x="50" y="169"/>
                    </a:lnTo>
                    <a:lnTo>
                      <a:pt x="59" y="177"/>
                    </a:lnTo>
                    <a:lnTo>
                      <a:pt x="68" y="182"/>
                    </a:lnTo>
                    <a:lnTo>
                      <a:pt x="76" y="188"/>
                    </a:lnTo>
                    <a:lnTo>
                      <a:pt x="86" y="192"/>
                    </a:lnTo>
                    <a:lnTo>
                      <a:pt x="96" y="195"/>
                    </a:lnTo>
                    <a:lnTo>
                      <a:pt x="108" y="198"/>
                    </a:lnTo>
                    <a:lnTo>
                      <a:pt x="119" y="201"/>
                    </a:lnTo>
                    <a:lnTo>
                      <a:pt x="131" y="202"/>
                    </a:lnTo>
                    <a:lnTo>
                      <a:pt x="144" y="202"/>
                    </a:lnTo>
                    <a:lnTo>
                      <a:pt x="144" y="202"/>
                    </a:lnTo>
                    <a:lnTo>
                      <a:pt x="158" y="202"/>
                    </a:lnTo>
                    <a:lnTo>
                      <a:pt x="173" y="200"/>
                    </a:lnTo>
                    <a:lnTo>
                      <a:pt x="187" y="197"/>
                    </a:lnTo>
                    <a:lnTo>
                      <a:pt x="201" y="192"/>
                    </a:lnTo>
                    <a:lnTo>
                      <a:pt x="204" y="19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5" name="Freeform 156"/>
              <p:cNvSpPr>
                <a:spLocks/>
              </p:cNvSpPr>
              <p:nvPr/>
            </p:nvSpPr>
            <p:spPr bwMode="auto">
              <a:xfrm>
                <a:off x="4155554" y="6078030"/>
                <a:ext cx="168275" cy="255588"/>
              </a:xfrm>
              <a:custGeom>
                <a:avLst/>
                <a:gdLst>
                  <a:gd name="T0" fmla="*/ 92 w 106"/>
                  <a:gd name="T1" fmla="*/ 81 h 161"/>
                  <a:gd name="T2" fmla="*/ 67 w 106"/>
                  <a:gd name="T3" fmla="*/ 72 h 161"/>
                  <a:gd name="T4" fmla="*/ 56 w 106"/>
                  <a:gd name="T5" fmla="*/ 69 h 161"/>
                  <a:gd name="T6" fmla="*/ 35 w 106"/>
                  <a:gd name="T7" fmla="*/ 64 h 161"/>
                  <a:gd name="T8" fmla="*/ 30 w 106"/>
                  <a:gd name="T9" fmla="*/ 59 h 161"/>
                  <a:gd name="T10" fmla="*/ 27 w 106"/>
                  <a:gd name="T11" fmla="*/ 54 h 161"/>
                  <a:gd name="T12" fmla="*/ 28 w 106"/>
                  <a:gd name="T13" fmla="*/ 48 h 161"/>
                  <a:gd name="T14" fmla="*/ 34 w 106"/>
                  <a:gd name="T15" fmla="*/ 42 h 161"/>
                  <a:gd name="T16" fmla="*/ 53 w 106"/>
                  <a:gd name="T17" fmla="*/ 39 h 161"/>
                  <a:gd name="T18" fmla="*/ 70 w 106"/>
                  <a:gd name="T19" fmla="*/ 41 h 161"/>
                  <a:gd name="T20" fmla="*/ 83 w 106"/>
                  <a:gd name="T21" fmla="*/ 45 h 161"/>
                  <a:gd name="T22" fmla="*/ 86 w 106"/>
                  <a:gd name="T23" fmla="*/ 46 h 161"/>
                  <a:gd name="T24" fmla="*/ 92 w 106"/>
                  <a:gd name="T25" fmla="*/ 46 h 161"/>
                  <a:gd name="T26" fmla="*/ 97 w 106"/>
                  <a:gd name="T27" fmla="*/ 42 h 161"/>
                  <a:gd name="T28" fmla="*/ 97 w 106"/>
                  <a:gd name="T29" fmla="*/ 36 h 161"/>
                  <a:gd name="T30" fmla="*/ 92 w 106"/>
                  <a:gd name="T31" fmla="*/ 29 h 161"/>
                  <a:gd name="T32" fmla="*/ 80 w 106"/>
                  <a:gd name="T33" fmla="*/ 23 h 161"/>
                  <a:gd name="T34" fmla="*/ 58 w 106"/>
                  <a:gd name="T35" fmla="*/ 21 h 161"/>
                  <a:gd name="T36" fmla="*/ 57 w 106"/>
                  <a:gd name="T37" fmla="*/ 6 h 161"/>
                  <a:gd name="T38" fmla="*/ 50 w 106"/>
                  <a:gd name="T39" fmla="*/ 0 h 161"/>
                  <a:gd name="T40" fmla="*/ 46 w 106"/>
                  <a:gd name="T41" fmla="*/ 3 h 161"/>
                  <a:gd name="T42" fmla="*/ 43 w 106"/>
                  <a:gd name="T43" fmla="*/ 21 h 161"/>
                  <a:gd name="T44" fmla="*/ 31 w 106"/>
                  <a:gd name="T45" fmla="*/ 22 h 161"/>
                  <a:gd name="T46" fmla="*/ 15 w 106"/>
                  <a:gd name="T47" fmla="*/ 29 h 161"/>
                  <a:gd name="T48" fmla="*/ 4 w 106"/>
                  <a:gd name="T49" fmla="*/ 39 h 161"/>
                  <a:gd name="T50" fmla="*/ 0 w 106"/>
                  <a:gd name="T51" fmla="*/ 54 h 161"/>
                  <a:gd name="T52" fmla="*/ 2 w 106"/>
                  <a:gd name="T53" fmla="*/ 67 h 161"/>
                  <a:gd name="T54" fmla="*/ 10 w 106"/>
                  <a:gd name="T55" fmla="*/ 75 h 161"/>
                  <a:gd name="T56" fmla="*/ 20 w 106"/>
                  <a:gd name="T57" fmla="*/ 82 h 161"/>
                  <a:gd name="T58" fmla="*/ 48 w 106"/>
                  <a:gd name="T59" fmla="*/ 90 h 161"/>
                  <a:gd name="T60" fmla="*/ 64 w 106"/>
                  <a:gd name="T61" fmla="*/ 94 h 161"/>
                  <a:gd name="T62" fmla="*/ 76 w 106"/>
                  <a:gd name="T63" fmla="*/ 100 h 161"/>
                  <a:gd name="T64" fmla="*/ 79 w 106"/>
                  <a:gd name="T65" fmla="*/ 108 h 161"/>
                  <a:gd name="T66" fmla="*/ 77 w 106"/>
                  <a:gd name="T67" fmla="*/ 117 h 161"/>
                  <a:gd name="T68" fmla="*/ 71 w 106"/>
                  <a:gd name="T69" fmla="*/ 123 h 161"/>
                  <a:gd name="T70" fmla="*/ 53 w 106"/>
                  <a:gd name="T71" fmla="*/ 127 h 161"/>
                  <a:gd name="T72" fmla="*/ 38 w 106"/>
                  <a:gd name="T73" fmla="*/ 125 h 161"/>
                  <a:gd name="T74" fmla="*/ 25 w 106"/>
                  <a:gd name="T75" fmla="*/ 121 h 161"/>
                  <a:gd name="T76" fmla="*/ 10 w 106"/>
                  <a:gd name="T77" fmla="*/ 115 h 161"/>
                  <a:gd name="T78" fmla="*/ 2 w 106"/>
                  <a:gd name="T79" fmla="*/ 118 h 161"/>
                  <a:gd name="T80" fmla="*/ 0 w 106"/>
                  <a:gd name="T81" fmla="*/ 124 h 161"/>
                  <a:gd name="T82" fmla="*/ 4 w 106"/>
                  <a:gd name="T83" fmla="*/ 133 h 161"/>
                  <a:gd name="T84" fmla="*/ 15 w 106"/>
                  <a:gd name="T85" fmla="*/ 140 h 161"/>
                  <a:gd name="T86" fmla="*/ 31 w 106"/>
                  <a:gd name="T87" fmla="*/ 144 h 161"/>
                  <a:gd name="T88" fmla="*/ 43 w 106"/>
                  <a:gd name="T89" fmla="*/ 154 h 161"/>
                  <a:gd name="T90" fmla="*/ 46 w 106"/>
                  <a:gd name="T91" fmla="*/ 159 h 161"/>
                  <a:gd name="T92" fmla="*/ 50 w 106"/>
                  <a:gd name="T93" fmla="*/ 161 h 161"/>
                  <a:gd name="T94" fmla="*/ 57 w 106"/>
                  <a:gd name="T95" fmla="*/ 157 h 161"/>
                  <a:gd name="T96" fmla="*/ 58 w 106"/>
                  <a:gd name="T97" fmla="*/ 146 h 161"/>
                  <a:gd name="T98" fmla="*/ 81 w 106"/>
                  <a:gd name="T99" fmla="*/ 140 h 161"/>
                  <a:gd name="T100" fmla="*/ 96 w 106"/>
                  <a:gd name="T101" fmla="*/ 130 h 161"/>
                  <a:gd name="T102" fmla="*/ 104 w 106"/>
                  <a:gd name="T103" fmla="*/ 115 h 161"/>
                  <a:gd name="T104" fmla="*/ 106 w 106"/>
                  <a:gd name="T105" fmla="*/ 101 h 161"/>
                  <a:gd name="T106" fmla="*/ 99 w 106"/>
                  <a:gd name="T107" fmla="*/ 88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6" h="161">
                    <a:moveTo>
                      <a:pt x="99" y="88"/>
                    </a:moveTo>
                    <a:lnTo>
                      <a:pt x="99" y="88"/>
                    </a:lnTo>
                    <a:lnTo>
                      <a:pt x="92" y="81"/>
                    </a:lnTo>
                    <a:lnTo>
                      <a:pt x="81" y="77"/>
                    </a:lnTo>
                    <a:lnTo>
                      <a:pt x="81" y="7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44" y="67"/>
                    </a:lnTo>
                    <a:lnTo>
                      <a:pt x="44" y="67"/>
                    </a:lnTo>
                    <a:lnTo>
                      <a:pt x="35" y="64"/>
                    </a:lnTo>
                    <a:lnTo>
                      <a:pt x="35" y="64"/>
                    </a:lnTo>
                    <a:lnTo>
                      <a:pt x="31" y="62"/>
                    </a:lnTo>
                    <a:lnTo>
                      <a:pt x="30" y="59"/>
                    </a:lnTo>
                    <a:lnTo>
                      <a:pt x="30" y="59"/>
                    </a:lnTo>
                    <a:lnTo>
                      <a:pt x="27" y="56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1" y="45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53" y="39"/>
                    </a:lnTo>
                    <a:lnTo>
                      <a:pt x="53" y="39"/>
                    </a:lnTo>
                    <a:lnTo>
                      <a:pt x="63" y="39"/>
                    </a:lnTo>
                    <a:lnTo>
                      <a:pt x="70" y="41"/>
                    </a:lnTo>
                    <a:lnTo>
                      <a:pt x="70" y="41"/>
                    </a:lnTo>
                    <a:lnTo>
                      <a:pt x="77" y="42"/>
                    </a:lnTo>
                    <a:lnTo>
                      <a:pt x="83" y="45"/>
                    </a:lnTo>
                    <a:lnTo>
                      <a:pt x="83" y="45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9" y="46"/>
                    </a:lnTo>
                    <a:lnTo>
                      <a:pt x="89" y="46"/>
                    </a:lnTo>
                    <a:lnTo>
                      <a:pt x="92" y="46"/>
                    </a:lnTo>
                    <a:lnTo>
                      <a:pt x="94" y="45"/>
                    </a:lnTo>
                    <a:lnTo>
                      <a:pt x="94" y="45"/>
                    </a:lnTo>
                    <a:lnTo>
                      <a:pt x="97" y="42"/>
                    </a:lnTo>
                    <a:lnTo>
                      <a:pt x="97" y="39"/>
                    </a:lnTo>
                    <a:lnTo>
                      <a:pt x="97" y="39"/>
                    </a:lnTo>
                    <a:lnTo>
                      <a:pt x="97" y="36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2" y="29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0" y="23"/>
                    </a:lnTo>
                    <a:lnTo>
                      <a:pt x="71" y="22"/>
                    </a:lnTo>
                    <a:lnTo>
                      <a:pt x="71" y="22"/>
                    </a:lnTo>
                    <a:lnTo>
                      <a:pt x="58" y="21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7" y="6"/>
                    </a:lnTo>
                    <a:lnTo>
                      <a:pt x="56" y="3"/>
                    </a:lnTo>
                    <a:lnTo>
                      <a:pt x="53" y="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7" y="2"/>
                    </a:lnTo>
                    <a:lnTo>
                      <a:pt x="46" y="3"/>
                    </a:lnTo>
                    <a:lnTo>
                      <a:pt x="43" y="6"/>
                    </a:lnTo>
                    <a:lnTo>
                      <a:pt x="43" y="9"/>
                    </a:lnTo>
                    <a:lnTo>
                      <a:pt x="43" y="21"/>
                    </a:lnTo>
                    <a:lnTo>
                      <a:pt x="43" y="21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23" y="25"/>
                    </a:lnTo>
                    <a:lnTo>
                      <a:pt x="15" y="29"/>
                    </a:lnTo>
                    <a:lnTo>
                      <a:pt x="15" y="29"/>
                    </a:lnTo>
                    <a:lnTo>
                      <a:pt x="8" y="33"/>
                    </a:lnTo>
                    <a:lnTo>
                      <a:pt x="4" y="39"/>
                    </a:lnTo>
                    <a:lnTo>
                      <a:pt x="4" y="39"/>
                    </a:lnTo>
                    <a:lnTo>
                      <a:pt x="1" y="46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1" y="61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5" y="72"/>
                    </a:lnTo>
                    <a:lnTo>
                      <a:pt x="10" y="75"/>
                    </a:lnTo>
                    <a:lnTo>
                      <a:pt x="10" y="75"/>
                    </a:lnTo>
                    <a:lnTo>
                      <a:pt x="14" y="79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33" y="87"/>
                    </a:lnTo>
                    <a:lnTo>
                      <a:pt x="33" y="87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70" y="97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9" y="104"/>
                    </a:lnTo>
                    <a:lnTo>
                      <a:pt x="79" y="108"/>
                    </a:lnTo>
                    <a:lnTo>
                      <a:pt x="79" y="108"/>
                    </a:lnTo>
                    <a:lnTo>
                      <a:pt x="79" y="113"/>
                    </a:lnTo>
                    <a:lnTo>
                      <a:pt x="77" y="117"/>
                    </a:lnTo>
                    <a:lnTo>
                      <a:pt x="77" y="117"/>
                    </a:lnTo>
                    <a:lnTo>
                      <a:pt x="74" y="120"/>
                    </a:lnTo>
                    <a:lnTo>
                      <a:pt x="71" y="123"/>
                    </a:lnTo>
                    <a:lnTo>
                      <a:pt x="71" y="123"/>
                    </a:lnTo>
                    <a:lnTo>
                      <a:pt x="63" y="125"/>
                    </a:lnTo>
                    <a:lnTo>
                      <a:pt x="63" y="125"/>
                    </a:lnTo>
                    <a:lnTo>
                      <a:pt x="53" y="127"/>
                    </a:lnTo>
                    <a:lnTo>
                      <a:pt x="53" y="127"/>
                    </a:lnTo>
                    <a:lnTo>
                      <a:pt x="46" y="127"/>
                    </a:lnTo>
                    <a:lnTo>
                      <a:pt x="38" y="125"/>
                    </a:lnTo>
                    <a:lnTo>
                      <a:pt x="38" y="125"/>
                    </a:lnTo>
                    <a:lnTo>
                      <a:pt x="25" y="121"/>
                    </a:lnTo>
                    <a:lnTo>
                      <a:pt x="25" y="121"/>
                    </a:lnTo>
                    <a:lnTo>
                      <a:pt x="17" y="117"/>
                    </a:lnTo>
                    <a:lnTo>
                      <a:pt x="17" y="117"/>
                    </a:lnTo>
                    <a:lnTo>
                      <a:pt x="10" y="115"/>
                    </a:lnTo>
                    <a:lnTo>
                      <a:pt x="10" y="115"/>
                    </a:lnTo>
                    <a:lnTo>
                      <a:pt x="5" y="117"/>
                    </a:lnTo>
                    <a:lnTo>
                      <a:pt x="2" y="118"/>
                    </a:lnTo>
                    <a:lnTo>
                      <a:pt x="2" y="118"/>
                    </a:lnTo>
                    <a:lnTo>
                      <a:pt x="1" y="121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1" y="128"/>
                    </a:lnTo>
                    <a:lnTo>
                      <a:pt x="4" y="133"/>
                    </a:lnTo>
                    <a:lnTo>
                      <a:pt x="4" y="133"/>
                    </a:lnTo>
                    <a:lnTo>
                      <a:pt x="8" y="136"/>
                    </a:lnTo>
                    <a:lnTo>
                      <a:pt x="15" y="140"/>
                    </a:lnTo>
                    <a:lnTo>
                      <a:pt x="15" y="140"/>
                    </a:lnTo>
                    <a:lnTo>
                      <a:pt x="23" y="141"/>
                    </a:lnTo>
                    <a:lnTo>
                      <a:pt x="31" y="144"/>
                    </a:lnTo>
                    <a:lnTo>
                      <a:pt x="31" y="144"/>
                    </a:lnTo>
                    <a:lnTo>
                      <a:pt x="43" y="146"/>
                    </a:lnTo>
                    <a:lnTo>
                      <a:pt x="43" y="154"/>
                    </a:lnTo>
                    <a:lnTo>
                      <a:pt x="43" y="154"/>
                    </a:lnTo>
                    <a:lnTo>
                      <a:pt x="43" y="157"/>
                    </a:lnTo>
                    <a:lnTo>
                      <a:pt x="46" y="159"/>
                    </a:lnTo>
                    <a:lnTo>
                      <a:pt x="47" y="160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3" y="160"/>
                    </a:lnTo>
                    <a:lnTo>
                      <a:pt x="56" y="159"/>
                    </a:lnTo>
                    <a:lnTo>
                      <a:pt x="57" y="157"/>
                    </a:lnTo>
                    <a:lnTo>
                      <a:pt x="58" y="154"/>
                    </a:lnTo>
                    <a:lnTo>
                      <a:pt x="58" y="146"/>
                    </a:lnTo>
                    <a:lnTo>
                      <a:pt x="58" y="146"/>
                    </a:lnTo>
                    <a:lnTo>
                      <a:pt x="73" y="143"/>
                    </a:lnTo>
                    <a:lnTo>
                      <a:pt x="73" y="143"/>
                    </a:lnTo>
                    <a:lnTo>
                      <a:pt x="81" y="140"/>
                    </a:lnTo>
                    <a:lnTo>
                      <a:pt x="90" y="136"/>
                    </a:lnTo>
                    <a:lnTo>
                      <a:pt x="90" y="136"/>
                    </a:lnTo>
                    <a:lnTo>
                      <a:pt x="96" y="130"/>
                    </a:lnTo>
                    <a:lnTo>
                      <a:pt x="102" y="123"/>
                    </a:lnTo>
                    <a:lnTo>
                      <a:pt x="102" y="123"/>
                    </a:lnTo>
                    <a:lnTo>
                      <a:pt x="104" y="115"/>
                    </a:lnTo>
                    <a:lnTo>
                      <a:pt x="106" y="107"/>
                    </a:lnTo>
                    <a:lnTo>
                      <a:pt x="106" y="107"/>
                    </a:lnTo>
                    <a:lnTo>
                      <a:pt x="106" y="101"/>
                    </a:lnTo>
                    <a:lnTo>
                      <a:pt x="104" y="97"/>
                    </a:lnTo>
                    <a:lnTo>
                      <a:pt x="102" y="92"/>
                    </a:lnTo>
                    <a:lnTo>
                      <a:pt x="99" y="88"/>
                    </a:lnTo>
                    <a:lnTo>
                      <a:pt x="99" y="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1591155" y="1905973"/>
              <a:ext cx="379999" cy="566737"/>
              <a:chOff x="3714626" y="3920157"/>
              <a:chExt cx="376238" cy="566737"/>
            </a:xfrm>
          </p:grpSpPr>
          <p:sp>
            <p:nvSpPr>
              <p:cNvPr id="110" name="Freeform 157"/>
              <p:cNvSpPr>
                <a:spLocks/>
              </p:cNvSpPr>
              <p:nvPr/>
            </p:nvSpPr>
            <p:spPr bwMode="auto">
              <a:xfrm>
                <a:off x="3797176" y="4404344"/>
                <a:ext cx="211138" cy="82550"/>
              </a:xfrm>
              <a:custGeom>
                <a:avLst/>
                <a:gdLst>
                  <a:gd name="T0" fmla="*/ 119 w 133"/>
                  <a:gd name="T1" fmla="*/ 0 h 52"/>
                  <a:gd name="T2" fmla="*/ 14 w 133"/>
                  <a:gd name="T3" fmla="*/ 0 h 52"/>
                  <a:gd name="T4" fmla="*/ 14 w 133"/>
                  <a:gd name="T5" fmla="*/ 0 h 52"/>
                  <a:gd name="T6" fmla="*/ 8 w 133"/>
                  <a:gd name="T7" fmla="*/ 2 h 52"/>
                  <a:gd name="T8" fmla="*/ 4 w 133"/>
                  <a:gd name="T9" fmla="*/ 4 h 52"/>
                  <a:gd name="T10" fmla="*/ 0 w 133"/>
                  <a:gd name="T11" fmla="*/ 9 h 52"/>
                  <a:gd name="T12" fmla="*/ 0 w 133"/>
                  <a:gd name="T13" fmla="*/ 14 h 52"/>
                  <a:gd name="T14" fmla="*/ 0 w 133"/>
                  <a:gd name="T15" fmla="*/ 14 h 52"/>
                  <a:gd name="T16" fmla="*/ 0 w 133"/>
                  <a:gd name="T17" fmla="*/ 20 h 52"/>
                  <a:gd name="T18" fmla="*/ 4 w 133"/>
                  <a:gd name="T19" fmla="*/ 25 h 52"/>
                  <a:gd name="T20" fmla="*/ 8 w 133"/>
                  <a:gd name="T21" fmla="*/ 29 h 52"/>
                  <a:gd name="T22" fmla="*/ 14 w 133"/>
                  <a:gd name="T23" fmla="*/ 29 h 52"/>
                  <a:gd name="T24" fmla="*/ 36 w 133"/>
                  <a:gd name="T25" fmla="*/ 29 h 52"/>
                  <a:gd name="T26" fmla="*/ 36 w 133"/>
                  <a:gd name="T27" fmla="*/ 29 h 52"/>
                  <a:gd name="T28" fmla="*/ 36 w 133"/>
                  <a:gd name="T29" fmla="*/ 30 h 52"/>
                  <a:gd name="T30" fmla="*/ 36 w 133"/>
                  <a:gd name="T31" fmla="*/ 30 h 52"/>
                  <a:gd name="T32" fmla="*/ 37 w 133"/>
                  <a:gd name="T33" fmla="*/ 35 h 52"/>
                  <a:gd name="T34" fmla="*/ 39 w 133"/>
                  <a:gd name="T35" fmla="*/ 39 h 52"/>
                  <a:gd name="T36" fmla="*/ 41 w 133"/>
                  <a:gd name="T37" fmla="*/ 42 h 52"/>
                  <a:gd name="T38" fmla="*/ 44 w 133"/>
                  <a:gd name="T39" fmla="*/ 45 h 52"/>
                  <a:gd name="T40" fmla="*/ 54 w 133"/>
                  <a:gd name="T41" fmla="*/ 50 h 52"/>
                  <a:gd name="T42" fmla="*/ 66 w 133"/>
                  <a:gd name="T43" fmla="*/ 52 h 52"/>
                  <a:gd name="T44" fmla="*/ 66 w 133"/>
                  <a:gd name="T45" fmla="*/ 52 h 52"/>
                  <a:gd name="T46" fmla="*/ 79 w 133"/>
                  <a:gd name="T47" fmla="*/ 50 h 52"/>
                  <a:gd name="T48" fmla="*/ 87 w 133"/>
                  <a:gd name="T49" fmla="*/ 45 h 52"/>
                  <a:gd name="T50" fmla="*/ 92 w 133"/>
                  <a:gd name="T51" fmla="*/ 42 h 52"/>
                  <a:gd name="T52" fmla="*/ 95 w 133"/>
                  <a:gd name="T53" fmla="*/ 39 h 52"/>
                  <a:gd name="T54" fmla="*/ 96 w 133"/>
                  <a:gd name="T55" fmla="*/ 35 h 52"/>
                  <a:gd name="T56" fmla="*/ 97 w 133"/>
                  <a:gd name="T57" fmla="*/ 30 h 52"/>
                  <a:gd name="T58" fmla="*/ 97 w 133"/>
                  <a:gd name="T59" fmla="*/ 30 h 52"/>
                  <a:gd name="T60" fmla="*/ 96 w 133"/>
                  <a:gd name="T61" fmla="*/ 29 h 52"/>
                  <a:gd name="T62" fmla="*/ 119 w 133"/>
                  <a:gd name="T63" fmla="*/ 29 h 52"/>
                  <a:gd name="T64" fmla="*/ 119 w 133"/>
                  <a:gd name="T65" fmla="*/ 29 h 52"/>
                  <a:gd name="T66" fmla="*/ 125 w 133"/>
                  <a:gd name="T67" fmla="*/ 29 h 52"/>
                  <a:gd name="T68" fmla="*/ 129 w 133"/>
                  <a:gd name="T69" fmla="*/ 25 h 52"/>
                  <a:gd name="T70" fmla="*/ 132 w 133"/>
                  <a:gd name="T71" fmla="*/ 20 h 52"/>
                  <a:gd name="T72" fmla="*/ 133 w 133"/>
                  <a:gd name="T73" fmla="*/ 14 h 52"/>
                  <a:gd name="T74" fmla="*/ 133 w 133"/>
                  <a:gd name="T75" fmla="*/ 14 h 52"/>
                  <a:gd name="T76" fmla="*/ 132 w 133"/>
                  <a:gd name="T77" fmla="*/ 9 h 52"/>
                  <a:gd name="T78" fmla="*/ 129 w 133"/>
                  <a:gd name="T79" fmla="*/ 4 h 52"/>
                  <a:gd name="T80" fmla="*/ 125 w 133"/>
                  <a:gd name="T81" fmla="*/ 2 h 52"/>
                  <a:gd name="T82" fmla="*/ 119 w 133"/>
                  <a:gd name="T83" fmla="*/ 0 h 52"/>
                  <a:gd name="T84" fmla="*/ 119 w 133"/>
                  <a:gd name="T85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3" h="52">
                    <a:moveTo>
                      <a:pt x="119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5"/>
                    </a:lnTo>
                    <a:lnTo>
                      <a:pt x="8" y="29"/>
                    </a:lnTo>
                    <a:lnTo>
                      <a:pt x="14" y="29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7" y="35"/>
                    </a:lnTo>
                    <a:lnTo>
                      <a:pt x="39" y="39"/>
                    </a:lnTo>
                    <a:lnTo>
                      <a:pt x="41" y="42"/>
                    </a:lnTo>
                    <a:lnTo>
                      <a:pt x="44" y="45"/>
                    </a:lnTo>
                    <a:lnTo>
                      <a:pt x="5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79" y="50"/>
                    </a:lnTo>
                    <a:lnTo>
                      <a:pt x="87" y="45"/>
                    </a:lnTo>
                    <a:lnTo>
                      <a:pt x="92" y="42"/>
                    </a:lnTo>
                    <a:lnTo>
                      <a:pt x="95" y="39"/>
                    </a:lnTo>
                    <a:lnTo>
                      <a:pt x="96" y="35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6" y="29"/>
                    </a:lnTo>
                    <a:lnTo>
                      <a:pt x="119" y="29"/>
                    </a:lnTo>
                    <a:lnTo>
                      <a:pt x="119" y="29"/>
                    </a:lnTo>
                    <a:lnTo>
                      <a:pt x="125" y="29"/>
                    </a:lnTo>
                    <a:lnTo>
                      <a:pt x="129" y="25"/>
                    </a:lnTo>
                    <a:lnTo>
                      <a:pt x="132" y="20"/>
                    </a:lnTo>
                    <a:lnTo>
                      <a:pt x="133" y="14"/>
                    </a:lnTo>
                    <a:lnTo>
                      <a:pt x="133" y="14"/>
                    </a:lnTo>
                    <a:lnTo>
                      <a:pt x="132" y="9"/>
                    </a:lnTo>
                    <a:lnTo>
                      <a:pt x="129" y="4"/>
                    </a:lnTo>
                    <a:lnTo>
                      <a:pt x="125" y="2"/>
                    </a:lnTo>
                    <a:lnTo>
                      <a:pt x="119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1" name="Freeform 158"/>
              <p:cNvSpPr>
                <a:spLocks noEditPoints="1"/>
              </p:cNvSpPr>
              <p:nvPr/>
            </p:nvSpPr>
            <p:spPr bwMode="auto">
              <a:xfrm>
                <a:off x="3714626" y="3920157"/>
                <a:ext cx="376238" cy="415925"/>
              </a:xfrm>
              <a:custGeom>
                <a:avLst/>
                <a:gdLst>
                  <a:gd name="T0" fmla="*/ 237 w 237"/>
                  <a:gd name="T1" fmla="*/ 107 h 262"/>
                  <a:gd name="T2" fmla="*/ 229 w 237"/>
                  <a:gd name="T3" fmla="*/ 72 h 262"/>
                  <a:gd name="T4" fmla="*/ 210 w 237"/>
                  <a:gd name="T5" fmla="*/ 42 h 262"/>
                  <a:gd name="T6" fmla="*/ 185 w 237"/>
                  <a:gd name="T7" fmla="*/ 19 h 262"/>
                  <a:gd name="T8" fmla="*/ 154 w 237"/>
                  <a:gd name="T9" fmla="*/ 5 h 262"/>
                  <a:gd name="T10" fmla="*/ 118 w 237"/>
                  <a:gd name="T11" fmla="*/ 0 h 262"/>
                  <a:gd name="T12" fmla="*/ 95 w 237"/>
                  <a:gd name="T13" fmla="*/ 2 h 262"/>
                  <a:gd name="T14" fmla="*/ 62 w 237"/>
                  <a:gd name="T15" fmla="*/ 13 h 262"/>
                  <a:gd name="T16" fmla="*/ 35 w 237"/>
                  <a:gd name="T17" fmla="*/ 33 h 262"/>
                  <a:gd name="T18" fmla="*/ 14 w 237"/>
                  <a:gd name="T19" fmla="*/ 61 h 262"/>
                  <a:gd name="T20" fmla="*/ 1 w 237"/>
                  <a:gd name="T21" fmla="*/ 94 h 262"/>
                  <a:gd name="T22" fmla="*/ 0 w 237"/>
                  <a:gd name="T23" fmla="*/ 118 h 262"/>
                  <a:gd name="T24" fmla="*/ 4 w 237"/>
                  <a:gd name="T25" fmla="*/ 148 h 262"/>
                  <a:gd name="T26" fmla="*/ 26 w 237"/>
                  <a:gd name="T27" fmla="*/ 190 h 262"/>
                  <a:gd name="T28" fmla="*/ 47 w 237"/>
                  <a:gd name="T29" fmla="*/ 233 h 262"/>
                  <a:gd name="T30" fmla="*/ 52 w 237"/>
                  <a:gd name="T31" fmla="*/ 262 h 262"/>
                  <a:gd name="T32" fmla="*/ 188 w 237"/>
                  <a:gd name="T33" fmla="*/ 252 h 262"/>
                  <a:gd name="T34" fmla="*/ 195 w 237"/>
                  <a:gd name="T35" fmla="*/ 223 h 262"/>
                  <a:gd name="T36" fmla="*/ 221 w 237"/>
                  <a:gd name="T37" fmla="*/ 173 h 262"/>
                  <a:gd name="T38" fmla="*/ 237 w 237"/>
                  <a:gd name="T39" fmla="*/ 130 h 262"/>
                  <a:gd name="T40" fmla="*/ 118 w 237"/>
                  <a:gd name="T41" fmla="*/ 29 h 262"/>
                  <a:gd name="T42" fmla="*/ 128 w 237"/>
                  <a:gd name="T43" fmla="*/ 31 h 262"/>
                  <a:gd name="T44" fmla="*/ 138 w 237"/>
                  <a:gd name="T45" fmla="*/ 39 h 262"/>
                  <a:gd name="T46" fmla="*/ 142 w 237"/>
                  <a:gd name="T47" fmla="*/ 52 h 262"/>
                  <a:gd name="T48" fmla="*/ 141 w 237"/>
                  <a:gd name="T49" fmla="*/ 62 h 262"/>
                  <a:gd name="T50" fmla="*/ 131 w 237"/>
                  <a:gd name="T51" fmla="*/ 72 h 262"/>
                  <a:gd name="T52" fmla="*/ 118 w 237"/>
                  <a:gd name="T53" fmla="*/ 77 h 262"/>
                  <a:gd name="T54" fmla="*/ 109 w 237"/>
                  <a:gd name="T55" fmla="*/ 75 h 262"/>
                  <a:gd name="T56" fmla="*/ 98 w 237"/>
                  <a:gd name="T57" fmla="*/ 67 h 262"/>
                  <a:gd name="T58" fmla="*/ 93 w 237"/>
                  <a:gd name="T59" fmla="*/ 52 h 262"/>
                  <a:gd name="T60" fmla="*/ 96 w 237"/>
                  <a:gd name="T61" fmla="*/ 44 h 262"/>
                  <a:gd name="T62" fmla="*/ 105 w 237"/>
                  <a:gd name="T63" fmla="*/ 32 h 262"/>
                  <a:gd name="T64" fmla="*/ 118 w 237"/>
                  <a:gd name="T65" fmla="*/ 29 h 262"/>
                  <a:gd name="T66" fmla="*/ 165 w 237"/>
                  <a:gd name="T67" fmla="*/ 148 h 262"/>
                  <a:gd name="T68" fmla="*/ 154 w 237"/>
                  <a:gd name="T69" fmla="*/ 167 h 262"/>
                  <a:gd name="T70" fmla="*/ 145 w 237"/>
                  <a:gd name="T71" fmla="*/ 169 h 262"/>
                  <a:gd name="T72" fmla="*/ 147 w 237"/>
                  <a:gd name="T73" fmla="*/ 243 h 262"/>
                  <a:gd name="T74" fmla="*/ 138 w 237"/>
                  <a:gd name="T75" fmla="*/ 256 h 262"/>
                  <a:gd name="T76" fmla="*/ 126 w 237"/>
                  <a:gd name="T77" fmla="*/ 256 h 262"/>
                  <a:gd name="T78" fmla="*/ 118 w 237"/>
                  <a:gd name="T79" fmla="*/ 243 h 262"/>
                  <a:gd name="T80" fmla="*/ 114 w 237"/>
                  <a:gd name="T81" fmla="*/ 253 h 262"/>
                  <a:gd name="T82" fmla="*/ 105 w 237"/>
                  <a:gd name="T83" fmla="*/ 258 h 262"/>
                  <a:gd name="T84" fmla="*/ 92 w 237"/>
                  <a:gd name="T85" fmla="*/ 249 h 262"/>
                  <a:gd name="T86" fmla="*/ 91 w 237"/>
                  <a:gd name="T87" fmla="*/ 174 h 262"/>
                  <a:gd name="T88" fmla="*/ 91 w 237"/>
                  <a:gd name="T89" fmla="*/ 169 h 262"/>
                  <a:gd name="T90" fmla="*/ 73 w 237"/>
                  <a:gd name="T91" fmla="*/ 157 h 262"/>
                  <a:gd name="T92" fmla="*/ 72 w 237"/>
                  <a:gd name="T93" fmla="*/ 105 h 262"/>
                  <a:gd name="T94" fmla="*/ 83 w 237"/>
                  <a:gd name="T95" fmla="*/ 88 h 262"/>
                  <a:gd name="T96" fmla="*/ 118 w 237"/>
                  <a:gd name="T97" fmla="*/ 107 h 262"/>
                  <a:gd name="T98" fmla="*/ 145 w 237"/>
                  <a:gd name="T99" fmla="*/ 87 h 262"/>
                  <a:gd name="T100" fmla="*/ 164 w 237"/>
                  <a:gd name="T101" fmla="*/ 9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7" h="262">
                    <a:moveTo>
                      <a:pt x="237" y="118"/>
                    </a:moveTo>
                    <a:lnTo>
                      <a:pt x="237" y="118"/>
                    </a:lnTo>
                    <a:lnTo>
                      <a:pt x="237" y="107"/>
                    </a:lnTo>
                    <a:lnTo>
                      <a:pt x="234" y="94"/>
                    </a:lnTo>
                    <a:lnTo>
                      <a:pt x="231" y="82"/>
                    </a:lnTo>
                    <a:lnTo>
                      <a:pt x="229" y="72"/>
                    </a:lnTo>
                    <a:lnTo>
                      <a:pt x="223" y="61"/>
                    </a:lnTo>
                    <a:lnTo>
                      <a:pt x="217" y="52"/>
                    </a:lnTo>
                    <a:lnTo>
                      <a:pt x="210" y="42"/>
                    </a:lnTo>
                    <a:lnTo>
                      <a:pt x="203" y="33"/>
                    </a:lnTo>
                    <a:lnTo>
                      <a:pt x="194" y="26"/>
                    </a:lnTo>
                    <a:lnTo>
                      <a:pt x="185" y="19"/>
                    </a:lnTo>
                    <a:lnTo>
                      <a:pt x="175" y="13"/>
                    </a:lnTo>
                    <a:lnTo>
                      <a:pt x="165" y="9"/>
                    </a:lnTo>
                    <a:lnTo>
                      <a:pt x="154" y="5"/>
                    </a:lnTo>
                    <a:lnTo>
                      <a:pt x="142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6" y="0"/>
                    </a:lnTo>
                    <a:lnTo>
                      <a:pt x="95" y="2"/>
                    </a:lnTo>
                    <a:lnTo>
                      <a:pt x="83" y="5"/>
                    </a:lnTo>
                    <a:lnTo>
                      <a:pt x="72" y="9"/>
                    </a:lnTo>
                    <a:lnTo>
                      <a:pt x="62" y="13"/>
                    </a:lnTo>
                    <a:lnTo>
                      <a:pt x="52" y="19"/>
                    </a:lnTo>
                    <a:lnTo>
                      <a:pt x="43" y="26"/>
                    </a:lnTo>
                    <a:lnTo>
                      <a:pt x="35" y="33"/>
                    </a:lnTo>
                    <a:lnTo>
                      <a:pt x="26" y="42"/>
                    </a:lnTo>
                    <a:lnTo>
                      <a:pt x="20" y="52"/>
                    </a:lnTo>
                    <a:lnTo>
                      <a:pt x="14" y="61"/>
                    </a:lnTo>
                    <a:lnTo>
                      <a:pt x="9" y="72"/>
                    </a:lnTo>
                    <a:lnTo>
                      <a:pt x="4" y="82"/>
                    </a:lnTo>
                    <a:lnTo>
                      <a:pt x="1" y="94"/>
                    </a:lnTo>
                    <a:lnTo>
                      <a:pt x="0" y="107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30"/>
                    </a:lnTo>
                    <a:lnTo>
                      <a:pt x="1" y="138"/>
                    </a:lnTo>
                    <a:lnTo>
                      <a:pt x="4" y="148"/>
                    </a:lnTo>
                    <a:lnTo>
                      <a:pt x="7" y="157"/>
                    </a:lnTo>
                    <a:lnTo>
                      <a:pt x="16" y="174"/>
                    </a:lnTo>
                    <a:lnTo>
                      <a:pt x="26" y="190"/>
                    </a:lnTo>
                    <a:lnTo>
                      <a:pt x="35" y="207"/>
                    </a:lnTo>
                    <a:lnTo>
                      <a:pt x="43" y="225"/>
                    </a:lnTo>
                    <a:lnTo>
                      <a:pt x="47" y="233"/>
                    </a:lnTo>
                    <a:lnTo>
                      <a:pt x="49" y="242"/>
                    </a:lnTo>
                    <a:lnTo>
                      <a:pt x="52" y="252"/>
                    </a:lnTo>
                    <a:lnTo>
                      <a:pt x="52" y="262"/>
                    </a:lnTo>
                    <a:lnTo>
                      <a:pt x="187" y="262"/>
                    </a:lnTo>
                    <a:lnTo>
                      <a:pt x="187" y="262"/>
                    </a:lnTo>
                    <a:lnTo>
                      <a:pt x="188" y="252"/>
                    </a:lnTo>
                    <a:lnTo>
                      <a:pt x="190" y="242"/>
                    </a:lnTo>
                    <a:lnTo>
                      <a:pt x="193" y="233"/>
                    </a:lnTo>
                    <a:lnTo>
                      <a:pt x="195" y="223"/>
                    </a:lnTo>
                    <a:lnTo>
                      <a:pt x="203" y="206"/>
                    </a:lnTo>
                    <a:lnTo>
                      <a:pt x="213" y="190"/>
                    </a:lnTo>
                    <a:lnTo>
                      <a:pt x="221" y="173"/>
                    </a:lnTo>
                    <a:lnTo>
                      <a:pt x="230" y="157"/>
                    </a:lnTo>
                    <a:lnTo>
                      <a:pt x="236" y="138"/>
                    </a:lnTo>
                    <a:lnTo>
                      <a:pt x="237" y="130"/>
                    </a:lnTo>
                    <a:lnTo>
                      <a:pt x="237" y="118"/>
                    </a:lnTo>
                    <a:lnTo>
                      <a:pt x="237" y="118"/>
                    </a:lnTo>
                    <a:close/>
                    <a:moveTo>
                      <a:pt x="118" y="29"/>
                    </a:moveTo>
                    <a:lnTo>
                      <a:pt x="118" y="29"/>
                    </a:lnTo>
                    <a:lnTo>
                      <a:pt x="122" y="29"/>
                    </a:lnTo>
                    <a:lnTo>
                      <a:pt x="128" y="31"/>
                    </a:lnTo>
                    <a:lnTo>
                      <a:pt x="131" y="32"/>
                    </a:lnTo>
                    <a:lnTo>
                      <a:pt x="135" y="35"/>
                    </a:lnTo>
                    <a:lnTo>
                      <a:pt x="138" y="39"/>
                    </a:lnTo>
                    <a:lnTo>
                      <a:pt x="141" y="44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2"/>
                    </a:lnTo>
                    <a:lnTo>
                      <a:pt x="142" y="58"/>
                    </a:lnTo>
                    <a:lnTo>
                      <a:pt x="141" y="62"/>
                    </a:lnTo>
                    <a:lnTo>
                      <a:pt x="138" y="67"/>
                    </a:lnTo>
                    <a:lnTo>
                      <a:pt x="135" y="69"/>
                    </a:lnTo>
                    <a:lnTo>
                      <a:pt x="131" y="72"/>
                    </a:lnTo>
                    <a:lnTo>
                      <a:pt x="128" y="75"/>
                    </a:lnTo>
                    <a:lnTo>
                      <a:pt x="122" y="77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4" y="77"/>
                    </a:lnTo>
                    <a:lnTo>
                      <a:pt x="109" y="75"/>
                    </a:lnTo>
                    <a:lnTo>
                      <a:pt x="105" y="72"/>
                    </a:lnTo>
                    <a:lnTo>
                      <a:pt x="101" y="69"/>
                    </a:lnTo>
                    <a:lnTo>
                      <a:pt x="98" y="67"/>
                    </a:lnTo>
                    <a:lnTo>
                      <a:pt x="96" y="62"/>
                    </a:lnTo>
                    <a:lnTo>
                      <a:pt x="95" y="58"/>
                    </a:lnTo>
                    <a:lnTo>
                      <a:pt x="93" y="52"/>
                    </a:lnTo>
                    <a:lnTo>
                      <a:pt x="93" y="52"/>
                    </a:lnTo>
                    <a:lnTo>
                      <a:pt x="95" y="48"/>
                    </a:lnTo>
                    <a:lnTo>
                      <a:pt x="96" y="44"/>
                    </a:lnTo>
                    <a:lnTo>
                      <a:pt x="98" y="39"/>
                    </a:lnTo>
                    <a:lnTo>
                      <a:pt x="101" y="35"/>
                    </a:lnTo>
                    <a:lnTo>
                      <a:pt x="105" y="32"/>
                    </a:lnTo>
                    <a:lnTo>
                      <a:pt x="109" y="31"/>
                    </a:lnTo>
                    <a:lnTo>
                      <a:pt x="114" y="29"/>
                    </a:lnTo>
                    <a:lnTo>
                      <a:pt x="118" y="29"/>
                    </a:lnTo>
                    <a:lnTo>
                      <a:pt x="118" y="29"/>
                    </a:lnTo>
                    <a:close/>
                    <a:moveTo>
                      <a:pt x="165" y="148"/>
                    </a:moveTo>
                    <a:lnTo>
                      <a:pt x="165" y="148"/>
                    </a:lnTo>
                    <a:lnTo>
                      <a:pt x="164" y="157"/>
                    </a:lnTo>
                    <a:lnTo>
                      <a:pt x="160" y="163"/>
                    </a:lnTo>
                    <a:lnTo>
                      <a:pt x="154" y="167"/>
                    </a:lnTo>
                    <a:lnTo>
                      <a:pt x="145" y="169"/>
                    </a:lnTo>
                    <a:lnTo>
                      <a:pt x="145" y="169"/>
                    </a:lnTo>
                    <a:lnTo>
                      <a:pt x="145" y="169"/>
                    </a:lnTo>
                    <a:lnTo>
                      <a:pt x="147" y="174"/>
                    </a:lnTo>
                    <a:lnTo>
                      <a:pt x="147" y="243"/>
                    </a:lnTo>
                    <a:lnTo>
                      <a:pt x="147" y="243"/>
                    </a:lnTo>
                    <a:lnTo>
                      <a:pt x="145" y="249"/>
                    </a:lnTo>
                    <a:lnTo>
                      <a:pt x="142" y="253"/>
                    </a:lnTo>
                    <a:lnTo>
                      <a:pt x="138" y="256"/>
                    </a:lnTo>
                    <a:lnTo>
                      <a:pt x="132" y="258"/>
                    </a:lnTo>
                    <a:lnTo>
                      <a:pt x="132" y="258"/>
                    </a:lnTo>
                    <a:lnTo>
                      <a:pt x="126" y="256"/>
                    </a:lnTo>
                    <a:lnTo>
                      <a:pt x="122" y="253"/>
                    </a:lnTo>
                    <a:lnTo>
                      <a:pt x="119" y="249"/>
                    </a:lnTo>
                    <a:lnTo>
                      <a:pt x="118" y="243"/>
                    </a:lnTo>
                    <a:lnTo>
                      <a:pt x="118" y="243"/>
                    </a:lnTo>
                    <a:lnTo>
                      <a:pt x="118" y="249"/>
                    </a:lnTo>
                    <a:lnTo>
                      <a:pt x="114" y="253"/>
                    </a:lnTo>
                    <a:lnTo>
                      <a:pt x="109" y="256"/>
                    </a:lnTo>
                    <a:lnTo>
                      <a:pt x="105" y="258"/>
                    </a:lnTo>
                    <a:lnTo>
                      <a:pt x="105" y="258"/>
                    </a:lnTo>
                    <a:lnTo>
                      <a:pt x="99" y="256"/>
                    </a:lnTo>
                    <a:lnTo>
                      <a:pt x="95" y="253"/>
                    </a:lnTo>
                    <a:lnTo>
                      <a:pt x="92" y="249"/>
                    </a:lnTo>
                    <a:lnTo>
                      <a:pt x="91" y="243"/>
                    </a:lnTo>
                    <a:lnTo>
                      <a:pt x="91" y="174"/>
                    </a:lnTo>
                    <a:lnTo>
                      <a:pt x="91" y="174"/>
                    </a:lnTo>
                    <a:lnTo>
                      <a:pt x="91" y="169"/>
                    </a:lnTo>
                    <a:lnTo>
                      <a:pt x="91" y="169"/>
                    </a:lnTo>
                    <a:lnTo>
                      <a:pt x="91" y="169"/>
                    </a:lnTo>
                    <a:lnTo>
                      <a:pt x="83" y="167"/>
                    </a:lnTo>
                    <a:lnTo>
                      <a:pt x="78" y="163"/>
                    </a:lnTo>
                    <a:lnTo>
                      <a:pt x="73" y="157"/>
                    </a:lnTo>
                    <a:lnTo>
                      <a:pt x="72" y="148"/>
                    </a:lnTo>
                    <a:lnTo>
                      <a:pt x="72" y="105"/>
                    </a:lnTo>
                    <a:lnTo>
                      <a:pt x="72" y="105"/>
                    </a:lnTo>
                    <a:lnTo>
                      <a:pt x="73" y="98"/>
                    </a:lnTo>
                    <a:lnTo>
                      <a:pt x="78" y="92"/>
                    </a:lnTo>
                    <a:lnTo>
                      <a:pt x="83" y="88"/>
                    </a:lnTo>
                    <a:lnTo>
                      <a:pt x="91" y="87"/>
                    </a:lnTo>
                    <a:lnTo>
                      <a:pt x="98" y="87"/>
                    </a:lnTo>
                    <a:lnTo>
                      <a:pt x="118" y="107"/>
                    </a:lnTo>
                    <a:lnTo>
                      <a:pt x="138" y="87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54" y="88"/>
                    </a:lnTo>
                    <a:lnTo>
                      <a:pt x="160" y="92"/>
                    </a:lnTo>
                    <a:lnTo>
                      <a:pt x="164" y="98"/>
                    </a:lnTo>
                    <a:lnTo>
                      <a:pt x="165" y="105"/>
                    </a:lnTo>
                    <a:lnTo>
                      <a:pt x="165" y="1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2" name="Freeform 159"/>
              <p:cNvSpPr>
                <a:spLocks/>
              </p:cNvSpPr>
              <p:nvPr/>
            </p:nvSpPr>
            <p:spPr bwMode="auto">
              <a:xfrm>
                <a:off x="3794001" y="4356719"/>
                <a:ext cx="214313" cy="31750"/>
              </a:xfrm>
              <a:custGeom>
                <a:avLst/>
                <a:gdLst>
                  <a:gd name="T0" fmla="*/ 135 w 135"/>
                  <a:gd name="T1" fmla="*/ 10 h 20"/>
                  <a:gd name="T2" fmla="*/ 135 w 135"/>
                  <a:gd name="T3" fmla="*/ 10 h 20"/>
                  <a:gd name="T4" fmla="*/ 134 w 135"/>
                  <a:gd name="T5" fmla="*/ 14 h 20"/>
                  <a:gd name="T6" fmla="*/ 133 w 135"/>
                  <a:gd name="T7" fmla="*/ 17 h 20"/>
                  <a:gd name="T8" fmla="*/ 130 w 135"/>
                  <a:gd name="T9" fmla="*/ 19 h 20"/>
                  <a:gd name="T10" fmla="*/ 125 w 135"/>
                  <a:gd name="T11" fmla="*/ 20 h 20"/>
                  <a:gd name="T12" fmla="*/ 10 w 135"/>
                  <a:gd name="T13" fmla="*/ 20 h 20"/>
                  <a:gd name="T14" fmla="*/ 10 w 135"/>
                  <a:gd name="T15" fmla="*/ 20 h 20"/>
                  <a:gd name="T16" fmla="*/ 8 w 135"/>
                  <a:gd name="T17" fmla="*/ 19 h 20"/>
                  <a:gd name="T18" fmla="*/ 3 w 135"/>
                  <a:gd name="T19" fmla="*/ 17 h 20"/>
                  <a:gd name="T20" fmla="*/ 2 w 135"/>
                  <a:gd name="T21" fmla="*/ 14 h 20"/>
                  <a:gd name="T22" fmla="*/ 0 w 135"/>
                  <a:gd name="T23" fmla="*/ 10 h 20"/>
                  <a:gd name="T24" fmla="*/ 0 w 135"/>
                  <a:gd name="T25" fmla="*/ 10 h 20"/>
                  <a:gd name="T26" fmla="*/ 0 w 135"/>
                  <a:gd name="T27" fmla="*/ 10 h 20"/>
                  <a:gd name="T28" fmla="*/ 2 w 135"/>
                  <a:gd name="T29" fmla="*/ 6 h 20"/>
                  <a:gd name="T30" fmla="*/ 3 w 135"/>
                  <a:gd name="T31" fmla="*/ 3 h 20"/>
                  <a:gd name="T32" fmla="*/ 8 w 135"/>
                  <a:gd name="T33" fmla="*/ 1 h 20"/>
                  <a:gd name="T34" fmla="*/ 10 w 135"/>
                  <a:gd name="T35" fmla="*/ 0 h 20"/>
                  <a:gd name="T36" fmla="*/ 125 w 135"/>
                  <a:gd name="T37" fmla="*/ 0 h 20"/>
                  <a:gd name="T38" fmla="*/ 125 w 135"/>
                  <a:gd name="T39" fmla="*/ 0 h 20"/>
                  <a:gd name="T40" fmla="*/ 130 w 135"/>
                  <a:gd name="T41" fmla="*/ 1 h 20"/>
                  <a:gd name="T42" fmla="*/ 133 w 135"/>
                  <a:gd name="T43" fmla="*/ 3 h 20"/>
                  <a:gd name="T44" fmla="*/ 134 w 135"/>
                  <a:gd name="T45" fmla="*/ 6 h 20"/>
                  <a:gd name="T46" fmla="*/ 135 w 135"/>
                  <a:gd name="T47" fmla="*/ 10 h 20"/>
                  <a:gd name="T48" fmla="*/ 135 w 135"/>
                  <a:gd name="T4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5" h="20">
                    <a:moveTo>
                      <a:pt x="135" y="10"/>
                    </a:moveTo>
                    <a:lnTo>
                      <a:pt x="135" y="10"/>
                    </a:lnTo>
                    <a:lnTo>
                      <a:pt x="134" y="14"/>
                    </a:lnTo>
                    <a:lnTo>
                      <a:pt x="133" y="17"/>
                    </a:lnTo>
                    <a:lnTo>
                      <a:pt x="130" y="19"/>
                    </a:lnTo>
                    <a:lnTo>
                      <a:pt x="125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8" y="19"/>
                    </a:lnTo>
                    <a:lnTo>
                      <a:pt x="3" y="17"/>
                    </a:lnTo>
                    <a:lnTo>
                      <a:pt x="2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0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30" y="1"/>
                    </a:lnTo>
                    <a:lnTo>
                      <a:pt x="133" y="3"/>
                    </a:lnTo>
                    <a:lnTo>
                      <a:pt x="134" y="6"/>
                    </a:lnTo>
                    <a:lnTo>
                      <a:pt x="135" y="10"/>
                    </a:lnTo>
                    <a:lnTo>
                      <a:pt x="135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3557615" y="4776238"/>
              <a:ext cx="1146959" cy="674960"/>
              <a:chOff x="5163467" y="5834682"/>
              <a:chExt cx="1135609" cy="674960"/>
            </a:xfrm>
          </p:grpSpPr>
          <p:sp>
            <p:nvSpPr>
              <p:cNvPr id="105" name="Freeform 149"/>
              <p:cNvSpPr>
                <a:spLocks/>
              </p:cNvSpPr>
              <p:nvPr/>
            </p:nvSpPr>
            <p:spPr bwMode="auto">
              <a:xfrm>
                <a:off x="5424835" y="6217606"/>
                <a:ext cx="115888" cy="7938"/>
              </a:xfrm>
              <a:custGeom>
                <a:avLst/>
                <a:gdLst>
                  <a:gd name="T0" fmla="*/ 73 w 73"/>
                  <a:gd name="T1" fmla="*/ 0 h 5"/>
                  <a:gd name="T2" fmla="*/ 0 w 73"/>
                  <a:gd name="T3" fmla="*/ 0 h 5"/>
                  <a:gd name="T4" fmla="*/ 0 w 73"/>
                  <a:gd name="T5" fmla="*/ 0 h 5"/>
                  <a:gd name="T6" fmla="*/ 14 w 73"/>
                  <a:gd name="T7" fmla="*/ 3 h 5"/>
                  <a:gd name="T8" fmla="*/ 30 w 73"/>
                  <a:gd name="T9" fmla="*/ 5 h 5"/>
                  <a:gd name="T10" fmla="*/ 30 w 73"/>
                  <a:gd name="T11" fmla="*/ 5 h 5"/>
                  <a:gd name="T12" fmla="*/ 42 w 73"/>
                  <a:gd name="T13" fmla="*/ 5 h 5"/>
                  <a:gd name="T14" fmla="*/ 52 w 73"/>
                  <a:gd name="T15" fmla="*/ 4 h 5"/>
                  <a:gd name="T16" fmla="*/ 63 w 73"/>
                  <a:gd name="T17" fmla="*/ 3 h 5"/>
                  <a:gd name="T18" fmla="*/ 73 w 73"/>
                  <a:gd name="T19" fmla="*/ 0 h 5"/>
                  <a:gd name="T20" fmla="*/ 73 w 73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3" h="5">
                    <a:moveTo>
                      <a:pt x="7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4" y="3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42" y="5"/>
                    </a:lnTo>
                    <a:lnTo>
                      <a:pt x="52" y="4"/>
                    </a:lnTo>
                    <a:lnTo>
                      <a:pt x="63" y="3"/>
                    </a:lnTo>
                    <a:lnTo>
                      <a:pt x="73" y="0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6" name="Freeform 151"/>
              <p:cNvSpPr>
                <a:spLocks/>
              </p:cNvSpPr>
              <p:nvPr/>
            </p:nvSpPr>
            <p:spPr bwMode="auto">
              <a:xfrm>
                <a:off x="5468813" y="5834682"/>
                <a:ext cx="3175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7" name="Freeform 152"/>
              <p:cNvSpPr>
                <a:spLocks/>
              </p:cNvSpPr>
              <p:nvPr/>
            </p:nvSpPr>
            <p:spPr bwMode="auto">
              <a:xfrm>
                <a:off x="5206329" y="6088954"/>
                <a:ext cx="88900" cy="88900"/>
              </a:xfrm>
              <a:custGeom>
                <a:avLst/>
                <a:gdLst>
                  <a:gd name="T0" fmla="*/ 27 w 56"/>
                  <a:gd name="T1" fmla="*/ 56 h 56"/>
                  <a:gd name="T2" fmla="*/ 27 w 56"/>
                  <a:gd name="T3" fmla="*/ 56 h 56"/>
                  <a:gd name="T4" fmla="*/ 33 w 56"/>
                  <a:gd name="T5" fmla="*/ 56 h 56"/>
                  <a:gd name="T6" fmla="*/ 39 w 56"/>
                  <a:gd name="T7" fmla="*/ 53 h 56"/>
                  <a:gd name="T8" fmla="*/ 43 w 56"/>
                  <a:gd name="T9" fmla="*/ 51 h 56"/>
                  <a:gd name="T10" fmla="*/ 47 w 56"/>
                  <a:gd name="T11" fmla="*/ 47 h 56"/>
                  <a:gd name="T12" fmla="*/ 52 w 56"/>
                  <a:gd name="T13" fmla="*/ 43 h 56"/>
                  <a:gd name="T14" fmla="*/ 53 w 56"/>
                  <a:gd name="T15" fmla="*/ 38 h 56"/>
                  <a:gd name="T16" fmla="*/ 56 w 56"/>
                  <a:gd name="T17" fmla="*/ 33 h 56"/>
                  <a:gd name="T18" fmla="*/ 56 w 56"/>
                  <a:gd name="T19" fmla="*/ 27 h 56"/>
                  <a:gd name="T20" fmla="*/ 56 w 56"/>
                  <a:gd name="T21" fmla="*/ 27 h 56"/>
                  <a:gd name="T22" fmla="*/ 56 w 56"/>
                  <a:gd name="T23" fmla="*/ 21 h 56"/>
                  <a:gd name="T24" fmla="*/ 53 w 56"/>
                  <a:gd name="T25" fmla="*/ 17 h 56"/>
                  <a:gd name="T26" fmla="*/ 52 w 56"/>
                  <a:gd name="T27" fmla="*/ 11 h 56"/>
                  <a:gd name="T28" fmla="*/ 47 w 56"/>
                  <a:gd name="T29" fmla="*/ 8 h 56"/>
                  <a:gd name="T30" fmla="*/ 43 w 56"/>
                  <a:gd name="T31" fmla="*/ 4 h 56"/>
                  <a:gd name="T32" fmla="*/ 39 w 56"/>
                  <a:gd name="T33" fmla="*/ 1 h 56"/>
                  <a:gd name="T34" fmla="*/ 33 w 56"/>
                  <a:gd name="T35" fmla="*/ 0 h 56"/>
                  <a:gd name="T36" fmla="*/ 27 w 56"/>
                  <a:gd name="T37" fmla="*/ 0 h 56"/>
                  <a:gd name="T38" fmla="*/ 27 w 56"/>
                  <a:gd name="T39" fmla="*/ 0 h 56"/>
                  <a:gd name="T40" fmla="*/ 21 w 56"/>
                  <a:gd name="T41" fmla="*/ 0 h 56"/>
                  <a:gd name="T42" fmla="*/ 17 w 56"/>
                  <a:gd name="T43" fmla="*/ 1 h 56"/>
                  <a:gd name="T44" fmla="*/ 11 w 56"/>
                  <a:gd name="T45" fmla="*/ 4 h 56"/>
                  <a:gd name="T46" fmla="*/ 7 w 56"/>
                  <a:gd name="T47" fmla="*/ 8 h 56"/>
                  <a:gd name="T48" fmla="*/ 4 w 56"/>
                  <a:gd name="T49" fmla="*/ 11 h 56"/>
                  <a:gd name="T50" fmla="*/ 1 w 56"/>
                  <a:gd name="T51" fmla="*/ 17 h 56"/>
                  <a:gd name="T52" fmla="*/ 0 w 56"/>
                  <a:gd name="T53" fmla="*/ 21 h 56"/>
                  <a:gd name="T54" fmla="*/ 0 w 56"/>
                  <a:gd name="T55" fmla="*/ 27 h 56"/>
                  <a:gd name="T56" fmla="*/ 0 w 56"/>
                  <a:gd name="T57" fmla="*/ 27 h 56"/>
                  <a:gd name="T58" fmla="*/ 0 w 56"/>
                  <a:gd name="T59" fmla="*/ 33 h 56"/>
                  <a:gd name="T60" fmla="*/ 1 w 56"/>
                  <a:gd name="T61" fmla="*/ 38 h 56"/>
                  <a:gd name="T62" fmla="*/ 4 w 56"/>
                  <a:gd name="T63" fmla="*/ 43 h 56"/>
                  <a:gd name="T64" fmla="*/ 7 w 56"/>
                  <a:gd name="T65" fmla="*/ 47 h 56"/>
                  <a:gd name="T66" fmla="*/ 11 w 56"/>
                  <a:gd name="T67" fmla="*/ 51 h 56"/>
                  <a:gd name="T68" fmla="*/ 17 w 56"/>
                  <a:gd name="T69" fmla="*/ 53 h 56"/>
                  <a:gd name="T70" fmla="*/ 21 w 56"/>
                  <a:gd name="T71" fmla="*/ 56 h 56"/>
                  <a:gd name="T72" fmla="*/ 27 w 56"/>
                  <a:gd name="T73" fmla="*/ 56 h 56"/>
                  <a:gd name="T74" fmla="*/ 27 w 56"/>
                  <a:gd name="T75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56">
                    <a:moveTo>
                      <a:pt x="27" y="56"/>
                    </a:moveTo>
                    <a:lnTo>
                      <a:pt x="27" y="56"/>
                    </a:lnTo>
                    <a:lnTo>
                      <a:pt x="33" y="56"/>
                    </a:lnTo>
                    <a:lnTo>
                      <a:pt x="39" y="53"/>
                    </a:lnTo>
                    <a:lnTo>
                      <a:pt x="43" y="51"/>
                    </a:lnTo>
                    <a:lnTo>
                      <a:pt x="47" y="47"/>
                    </a:lnTo>
                    <a:lnTo>
                      <a:pt x="52" y="43"/>
                    </a:lnTo>
                    <a:lnTo>
                      <a:pt x="53" y="38"/>
                    </a:lnTo>
                    <a:lnTo>
                      <a:pt x="56" y="33"/>
                    </a:lnTo>
                    <a:lnTo>
                      <a:pt x="56" y="27"/>
                    </a:lnTo>
                    <a:lnTo>
                      <a:pt x="56" y="27"/>
                    </a:lnTo>
                    <a:lnTo>
                      <a:pt x="56" y="21"/>
                    </a:lnTo>
                    <a:lnTo>
                      <a:pt x="53" y="17"/>
                    </a:lnTo>
                    <a:lnTo>
                      <a:pt x="52" y="11"/>
                    </a:lnTo>
                    <a:lnTo>
                      <a:pt x="47" y="8"/>
                    </a:lnTo>
                    <a:lnTo>
                      <a:pt x="43" y="4"/>
                    </a:lnTo>
                    <a:lnTo>
                      <a:pt x="39" y="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lnTo>
                      <a:pt x="17" y="1"/>
                    </a:lnTo>
                    <a:lnTo>
                      <a:pt x="11" y="4"/>
                    </a:lnTo>
                    <a:lnTo>
                      <a:pt x="7" y="8"/>
                    </a:lnTo>
                    <a:lnTo>
                      <a:pt x="4" y="11"/>
                    </a:lnTo>
                    <a:lnTo>
                      <a:pt x="1" y="17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1" y="38"/>
                    </a:lnTo>
                    <a:lnTo>
                      <a:pt x="4" y="43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7" y="53"/>
                    </a:lnTo>
                    <a:lnTo>
                      <a:pt x="21" y="56"/>
                    </a:lnTo>
                    <a:lnTo>
                      <a:pt x="27" y="56"/>
                    </a:lnTo>
                    <a:lnTo>
                      <a:pt x="27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8" name="Freeform 153"/>
              <p:cNvSpPr>
                <a:spLocks/>
              </p:cNvSpPr>
              <p:nvPr/>
            </p:nvSpPr>
            <p:spPr bwMode="auto">
              <a:xfrm>
                <a:off x="5163467" y="6165154"/>
                <a:ext cx="258763" cy="344488"/>
              </a:xfrm>
              <a:custGeom>
                <a:avLst/>
                <a:gdLst>
                  <a:gd name="T0" fmla="*/ 163 w 163"/>
                  <a:gd name="T1" fmla="*/ 12 h 217"/>
                  <a:gd name="T2" fmla="*/ 163 w 163"/>
                  <a:gd name="T3" fmla="*/ 12 h 217"/>
                  <a:gd name="T4" fmla="*/ 161 w 163"/>
                  <a:gd name="T5" fmla="*/ 6 h 217"/>
                  <a:gd name="T6" fmla="*/ 155 w 163"/>
                  <a:gd name="T7" fmla="*/ 2 h 217"/>
                  <a:gd name="T8" fmla="*/ 149 w 163"/>
                  <a:gd name="T9" fmla="*/ 0 h 217"/>
                  <a:gd name="T10" fmla="*/ 140 w 163"/>
                  <a:gd name="T11" fmla="*/ 2 h 217"/>
                  <a:gd name="T12" fmla="*/ 79 w 163"/>
                  <a:gd name="T13" fmla="*/ 19 h 217"/>
                  <a:gd name="T14" fmla="*/ 77 w 163"/>
                  <a:gd name="T15" fmla="*/ 19 h 217"/>
                  <a:gd name="T16" fmla="*/ 54 w 163"/>
                  <a:gd name="T17" fmla="*/ 41 h 217"/>
                  <a:gd name="T18" fmla="*/ 54 w 163"/>
                  <a:gd name="T19" fmla="*/ 42 h 217"/>
                  <a:gd name="T20" fmla="*/ 31 w 163"/>
                  <a:gd name="T21" fmla="*/ 19 h 217"/>
                  <a:gd name="T22" fmla="*/ 23 w 163"/>
                  <a:gd name="T23" fmla="*/ 19 h 217"/>
                  <a:gd name="T24" fmla="*/ 23 w 163"/>
                  <a:gd name="T25" fmla="*/ 19 h 217"/>
                  <a:gd name="T26" fmla="*/ 18 w 163"/>
                  <a:gd name="T27" fmla="*/ 19 h 217"/>
                  <a:gd name="T28" fmla="*/ 14 w 163"/>
                  <a:gd name="T29" fmla="*/ 21 h 217"/>
                  <a:gd name="T30" fmla="*/ 7 w 163"/>
                  <a:gd name="T31" fmla="*/ 25 h 217"/>
                  <a:gd name="T32" fmla="*/ 2 w 163"/>
                  <a:gd name="T33" fmla="*/ 32 h 217"/>
                  <a:gd name="T34" fmla="*/ 1 w 163"/>
                  <a:gd name="T35" fmla="*/ 36 h 217"/>
                  <a:gd name="T36" fmla="*/ 0 w 163"/>
                  <a:gd name="T37" fmla="*/ 41 h 217"/>
                  <a:gd name="T38" fmla="*/ 0 w 163"/>
                  <a:gd name="T39" fmla="*/ 91 h 217"/>
                  <a:gd name="T40" fmla="*/ 0 w 163"/>
                  <a:gd name="T41" fmla="*/ 91 h 217"/>
                  <a:gd name="T42" fmla="*/ 1 w 163"/>
                  <a:gd name="T43" fmla="*/ 97 h 217"/>
                  <a:gd name="T44" fmla="*/ 2 w 163"/>
                  <a:gd name="T45" fmla="*/ 101 h 217"/>
                  <a:gd name="T46" fmla="*/ 7 w 163"/>
                  <a:gd name="T47" fmla="*/ 108 h 217"/>
                  <a:gd name="T48" fmla="*/ 14 w 163"/>
                  <a:gd name="T49" fmla="*/ 113 h 217"/>
                  <a:gd name="T50" fmla="*/ 18 w 163"/>
                  <a:gd name="T51" fmla="*/ 114 h 217"/>
                  <a:gd name="T52" fmla="*/ 23 w 163"/>
                  <a:gd name="T53" fmla="*/ 114 h 217"/>
                  <a:gd name="T54" fmla="*/ 24 w 163"/>
                  <a:gd name="T55" fmla="*/ 114 h 217"/>
                  <a:gd name="T56" fmla="*/ 24 w 163"/>
                  <a:gd name="T57" fmla="*/ 114 h 217"/>
                  <a:gd name="T58" fmla="*/ 23 w 163"/>
                  <a:gd name="T59" fmla="*/ 120 h 217"/>
                  <a:gd name="T60" fmla="*/ 23 w 163"/>
                  <a:gd name="T61" fmla="*/ 202 h 217"/>
                  <a:gd name="T62" fmla="*/ 23 w 163"/>
                  <a:gd name="T63" fmla="*/ 202 h 217"/>
                  <a:gd name="T64" fmla="*/ 24 w 163"/>
                  <a:gd name="T65" fmla="*/ 207 h 217"/>
                  <a:gd name="T66" fmla="*/ 27 w 163"/>
                  <a:gd name="T67" fmla="*/ 213 h 217"/>
                  <a:gd name="T68" fmla="*/ 33 w 163"/>
                  <a:gd name="T69" fmla="*/ 216 h 217"/>
                  <a:gd name="T70" fmla="*/ 38 w 163"/>
                  <a:gd name="T71" fmla="*/ 217 h 217"/>
                  <a:gd name="T72" fmla="*/ 38 w 163"/>
                  <a:gd name="T73" fmla="*/ 217 h 217"/>
                  <a:gd name="T74" fmla="*/ 46 w 163"/>
                  <a:gd name="T75" fmla="*/ 216 h 217"/>
                  <a:gd name="T76" fmla="*/ 50 w 163"/>
                  <a:gd name="T77" fmla="*/ 213 h 217"/>
                  <a:gd name="T78" fmla="*/ 54 w 163"/>
                  <a:gd name="T79" fmla="*/ 207 h 217"/>
                  <a:gd name="T80" fmla="*/ 56 w 163"/>
                  <a:gd name="T81" fmla="*/ 202 h 217"/>
                  <a:gd name="T82" fmla="*/ 56 w 163"/>
                  <a:gd name="T83" fmla="*/ 202 h 217"/>
                  <a:gd name="T84" fmla="*/ 56 w 163"/>
                  <a:gd name="T85" fmla="*/ 207 h 217"/>
                  <a:gd name="T86" fmla="*/ 60 w 163"/>
                  <a:gd name="T87" fmla="*/ 213 h 217"/>
                  <a:gd name="T88" fmla="*/ 66 w 163"/>
                  <a:gd name="T89" fmla="*/ 216 h 217"/>
                  <a:gd name="T90" fmla="*/ 71 w 163"/>
                  <a:gd name="T91" fmla="*/ 217 h 217"/>
                  <a:gd name="T92" fmla="*/ 71 w 163"/>
                  <a:gd name="T93" fmla="*/ 217 h 217"/>
                  <a:gd name="T94" fmla="*/ 77 w 163"/>
                  <a:gd name="T95" fmla="*/ 216 h 217"/>
                  <a:gd name="T96" fmla="*/ 83 w 163"/>
                  <a:gd name="T97" fmla="*/ 213 h 217"/>
                  <a:gd name="T98" fmla="*/ 86 w 163"/>
                  <a:gd name="T99" fmla="*/ 207 h 217"/>
                  <a:gd name="T100" fmla="*/ 87 w 163"/>
                  <a:gd name="T101" fmla="*/ 202 h 217"/>
                  <a:gd name="T102" fmla="*/ 87 w 163"/>
                  <a:gd name="T103" fmla="*/ 51 h 217"/>
                  <a:gd name="T104" fmla="*/ 149 w 163"/>
                  <a:gd name="T105" fmla="*/ 34 h 217"/>
                  <a:gd name="T106" fmla="*/ 149 w 163"/>
                  <a:gd name="T107" fmla="*/ 34 h 217"/>
                  <a:gd name="T108" fmla="*/ 156 w 163"/>
                  <a:gd name="T109" fmla="*/ 31 h 217"/>
                  <a:gd name="T110" fmla="*/ 162 w 163"/>
                  <a:gd name="T111" fmla="*/ 25 h 217"/>
                  <a:gd name="T112" fmla="*/ 163 w 163"/>
                  <a:gd name="T113" fmla="*/ 19 h 217"/>
                  <a:gd name="T114" fmla="*/ 163 w 163"/>
                  <a:gd name="T115" fmla="*/ 12 h 217"/>
                  <a:gd name="T116" fmla="*/ 163 w 163"/>
                  <a:gd name="T117" fmla="*/ 12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" h="217">
                    <a:moveTo>
                      <a:pt x="163" y="12"/>
                    </a:moveTo>
                    <a:lnTo>
                      <a:pt x="163" y="12"/>
                    </a:lnTo>
                    <a:lnTo>
                      <a:pt x="161" y="6"/>
                    </a:lnTo>
                    <a:lnTo>
                      <a:pt x="155" y="2"/>
                    </a:lnTo>
                    <a:lnTo>
                      <a:pt x="149" y="0"/>
                    </a:lnTo>
                    <a:lnTo>
                      <a:pt x="140" y="2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54" y="41"/>
                    </a:lnTo>
                    <a:lnTo>
                      <a:pt x="54" y="42"/>
                    </a:lnTo>
                    <a:lnTo>
                      <a:pt x="31" y="19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18" y="19"/>
                    </a:lnTo>
                    <a:lnTo>
                      <a:pt x="14" y="21"/>
                    </a:lnTo>
                    <a:lnTo>
                      <a:pt x="7" y="25"/>
                    </a:lnTo>
                    <a:lnTo>
                      <a:pt x="2" y="32"/>
                    </a:lnTo>
                    <a:lnTo>
                      <a:pt x="1" y="36"/>
                    </a:lnTo>
                    <a:lnTo>
                      <a:pt x="0" y="41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1" y="97"/>
                    </a:lnTo>
                    <a:lnTo>
                      <a:pt x="2" y="101"/>
                    </a:lnTo>
                    <a:lnTo>
                      <a:pt x="7" y="108"/>
                    </a:lnTo>
                    <a:lnTo>
                      <a:pt x="14" y="113"/>
                    </a:lnTo>
                    <a:lnTo>
                      <a:pt x="18" y="114"/>
                    </a:lnTo>
                    <a:lnTo>
                      <a:pt x="23" y="114"/>
                    </a:lnTo>
                    <a:lnTo>
                      <a:pt x="24" y="114"/>
                    </a:lnTo>
                    <a:lnTo>
                      <a:pt x="24" y="114"/>
                    </a:lnTo>
                    <a:lnTo>
                      <a:pt x="23" y="120"/>
                    </a:lnTo>
                    <a:lnTo>
                      <a:pt x="23" y="202"/>
                    </a:lnTo>
                    <a:lnTo>
                      <a:pt x="23" y="202"/>
                    </a:lnTo>
                    <a:lnTo>
                      <a:pt x="24" y="207"/>
                    </a:lnTo>
                    <a:lnTo>
                      <a:pt x="27" y="213"/>
                    </a:lnTo>
                    <a:lnTo>
                      <a:pt x="33" y="216"/>
                    </a:lnTo>
                    <a:lnTo>
                      <a:pt x="38" y="217"/>
                    </a:lnTo>
                    <a:lnTo>
                      <a:pt x="38" y="217"/>
                    </a:lnTo>
                    <a:lnTo>
                      <a:pt x="46" y="216"/>
                    </a:lnTo>
                    <a:lnTo>
                      <a:pt x="50" y="213"/>
                    </a:lnTo>
                    <a:lnTo>
                      <a:pt x="54" y="207"/>
                    </a:lnTo>
                    <a:lnTo>
                      <a:pt x="56" y="202"/>
                    </a:lnTo>
                    <a:lnTo>
                      <a:pt x="56" y="202"/>
                    </a:lnTo>
                    <a:lnTo>
                      <a:pt x="56" y="207"/>
                    </a:lnTo>
                    <a:lnTo>
                      <a:pt x="60" y="213"/>
                    </a:lnTo>
                    <a:lnTo>
                      <a:pt x="66" y="216"/>
                    </a:lnTo>
                    <a:lnTo>
                      <a:pt x="71" y="217"/>
                    </a:lnTo>
                    <a:lnTo>
                      <a:pt x="71" y="217"/>
                    </a:lnTo>
                    <a:lnTo>
                      <a:pt x="77" y="216"/>
                    </a:lnTo>
                    <a:lnTo>
                      <a:pt x="83" y="213"/>
                    </a:lnTo>
                    <a:lnTo>
                      <a:pt x="86" y="207"/>
                    </a:lnTo>
                    <a:lnTo>
                      <a:pt x="87" y="202"/>
                    </a:lnTo>
                    <a:lnTo>
                      <a:pt x="87" y="51"/>
                    </a:lnTo>
                    <a:lnTo>
                      <a:pt x="149" y="34"/>
                    </a:lnTo>
                    <a:lnTo>
                      <a:pt x="149" y="34"/>
                    </a:lnTo>
                    <a:lnTo>
                      <a:pt x="156" y="31"/>
                    </a:lnTo>
                    <a:lnTo>
                      <a:pt x="162" y="25"/>
                    </a:lnTo>
                    <a:lnTo>
                      <a:pt x="163" y="19"/>
                    </a:lnTo>
                    <a:lnTo>
                      <a:pt x="163" y="12"/>
                    </a:lnTo>
                    <a:lnTo>
                      <a:pt x="163" y="1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9" name="Freeform 229"/>
              <p:cNvSpPr>
                <a:spLocks/>
              </p:cNvSpPr>
              <p:nvPr/>
            </p:nvSpPr>
            <p:spPr bwMode="auto">
              <a:xfrm>
                <a:off x="6251451" y="6295057"/>
                <a:ext cx="47625" cy="49213"/>
              </a:xfrm>
              <a:custGeom>
                <a:avLst/>
                <a:gdLst>
                  <a:gd name="T0" fmla="*/ 3 w 30"/>
                  <a:gd name="T1" fmla="*/ 25 h 31"/>
                  <a:gd name="T2" fmla="*/ 3 w 30"/>
                  <a:gd name="T3" fmla="*/ 25 h 31"/>
                  <a:gd name="T4" fmla="*/ 0 w 30"/>
                  <a:gd name="T5" fmla="*/ 19 h 31"/>
                  <a:gd name="T6" fmla="*/ 0 w 30"/>
                  <a:gd name="T7" fmla="*/ 13 h 31"/>
                  <a:gd name="T8" fmla="*/ 2 w 30"/>
                  <a:gd name="T9" fmla="*/ 8 h 31"/>
                  <a:gd name="T10" fmla="*/ 6 w 30"/>
                  <a:gd name="T11" fmla="*/ 2 h 31"/>
                  <a:gd name="T12" fmla="*/ 6 w 30"/>
                  <a:gd name="T13" fmla="*/ 2 h 31"/>
                  <a:gd name="T14" fmla="*/ 12 w 30"/>
                  <a:gd name="T15" fmla="*/ 0 h 31"/>
                  <a:gd name="T16" fmla="*/ 17 w 30"/>
                  <a:gd name="T17" fmla="*/ 0 h 31"/>
                  <a:gd name="T18" fmla="*/ 23 w 30"/>
                  <a:gd name="T19" fmla="*/ 2 h 31"/>
                  <a:gd name="T20" fmla="*/ 27 w 30"/>
                  <a:gd name="T21" fmla="*/ 6 h 31"/>
                  <a:gd name="T22" fmla="*/ 27 w 30"/>
                  <a:gd name="T23" fmla="*/ 6 h 31"/>
                  <a:gd name="T24" fmla="*/ 30 w 30"/>
                  <a:gd name="T25" fmla="*/ 12 h 31"/>
                  <a:gd name="T26" fmla="*/ 30 w 30"/>
                  <a:gd name="T27" fmla="*/ 18 h 31"/>
                  <a:gd name="T28" fmla="*/ 29 w 30"/>
                  <a:gd name="T29" fmla="*/ 23 h 31"/>
                  <a:gd name="T30" fmla="*/ 25 w 30"/>
                  <a:gd name="T31" fmla="*/ 28 h 31"/>
                  <a:gd name="T32" fmla="*/ 25 w 30"/>
                  <a:gd name="T33" fmla="*/ 28 h 31"/>
                  <a:gd name="T34" fmla="*/ 19 w 30"/>
                  <a:gd name="T35" fmla="*/ 31 h 31"/>
                  <a:gd name="T36" fmla="*/ 13 w 30"/>
                  <a:gd name="T37" fmla="*/ 31 h 31"/>
                  <a:gd name="T38" fmla="*/ 7 w 30"/>
                  <a:gd name="T39" fmla="*/ 29 h 31"/>
                  <a:gd name="T40" fmla="*/ 3 w 30"/>
                  <a:gd name="T41" fmla="*/ 25 h 31"/>
                  <a:gd name="T42" fmla="*/ 3 w 30"/>
                  <a:gd name="T43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31">
                    <a:moveTo>
                      <a:pt x="3" y="25"/>
                    </a:moveTo>
                    <a:lnTo>
                      <a:pt x="3" y="25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3" y="2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30" y="12"/>
                    </a:lnTo>
                    <a:lnTo>
                      <a:pt x="30" y="18"/>
                    </a:lnTo>
                    <a:lnTo>
                      <a:pt x="29" y="23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19" y="31"/>
                    </a:lnTo>
                    <a:lnTo>
                      <a:pt x="13" y="31"/>
                    </a:lnTo>
                    <a:lnTo>
                      <a:pt x="7" y="29"/>
                    </a:lnTo>
                    <a:lnTo>
                      <a:pt x="3" y="25"/>
                    </a:lnTo>
                    <a:lnTo>
                      <a:pt x="3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00" name="Rectangle 235"/>
            <p:cNvSpPr>
              <a:spLocks noChangeArrowheads="1"/>
            </p:cNvSpPr>
            <p:nvPr/>
          </p:nvSpPr>
          <p:spPr bwMode="auto">
            <a:xfrm>
              <a:off x="1187624" y="3935378"/>
              <a:ext cx="1387724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i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Selecting Neighbors</a:t>
              </a:r>
            </a:p>
          </p:txBody>
        </p:sp>
        <p:sp>
          <p:nvSpPr>
            <p:cNvPr id="101" name="Rectangle 237"/>
            <p:cNvSpPr>
              <a:spLocks noChangeArrowheads="1"/>
            </p:cNvSpPr>
            <p:nvPr/>
          </p:nvSpPr>
          <p:spPr bwMode="auto">
            <a:xfrm>
              <a:off x="2968803" y="4151676"/>
              <a:ext cx="142532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Model</a:t>
              </a:r>
              <a:r>
                <a:rPr lang="zh-CN" altLang="en-US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altLang="zh-CN" sz="1600" b="1" i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Based</a:t>
              </a:r>
              <a:endParaRPr lang="en-US" altLang="en-US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Rectangle 242"/>
            <p:cNvSpPr>
              <a:spLocks noChangeArrowheads="1"/>
            </p:cNvSpPr>
            <p:nvPr/>
          </p:nvSpPr>
          <p:spPr bwMode="auto">
            <a:xfrm>
              <a:off x="2987824" y="2648525"/>
              <a:ext cx="6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en-US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Rectangle 250"/>
            <p:cNvSpPr>
              <a:spLocks noChangeArrowheads="1"/>
            </p:cNvSpPr>
            <p:nvPr/>
          </p:nvSpPr>
          <p:spPr bwMode="auto">
            <a:xfrm>
              <a:off x="1225832" y="2613382"/>
              <a:ext cx="1330378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r>
                <a:rPr lang="en-US" altLang="zh-CN" sz="1600" b="1" i="1" dirty="0" smtClean="0">
                  <a:solidFill>
                    <a:srgbClr val="FFFFFF"/>
                  </a:solidFill>
                </a:rPr>
                <a:t>Data</a:t>
              </a:r>
              <a:r>
                <a:rPr lang="zh-CN" altLang="en-US" sz="1600" b="1" i="1" dirty="0" smtClean="0">
                  <a:solidFill>
                    <a:srgbClr val="FFFFFF"/>
                  </a:solidFill>
                </a:rPr>
                <a:t> </a:t>
              </a:r>
              <a:r>
                <a:rPr lang="en-US" altLang="zh-CN" sz="1600" b="1" i="1" dirty="0" smtClean="0">
                  <a:solidFill>
                    <a:srgbClr val="FFFFFF"/>
                  </a:solidFill>
                </a:rPr>
                <a:t>Processing</a:t>
              </a:r>
              <a:endParaRPr lang="en-US" altLang="en-US" sz="1600" b="1" i="1" dirty="0">
                <a:solidFill>
                  <a:srgbClr val="FFFFFF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211573" y="3454498"/>
              <a:ext cx="1065920" cy="53541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spcAft>
                  <a:spcPts val="900"/>
                </a:spcAft>
              </a:pPr>
              <a:r>
                <a:rPr lang="en-US" altLang="zh-CN" sz="1400" b="1" dirty="0" smtClean="0">
                  <a:cs typeface="Arial" panose="020B0604020202020204" pitchFamily="34" charset="0"/>
                </a:rPr>
                <a:t>Collaborative</a:t>
              </a:r>
              <a:r>
                <a:rPr lang="zh-CN" altLang="en-US" sz="1400" b="1" dirty="0" smtClean="0"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cs typeface="Arial" panose="020B0604020202020204" pitchFamily="34" charset="0"/>
                </a:rPr>
                <a:t>Filtering</a:t>
              </a:r>
              <a:endParaRPr lang="en-GB" sz="1400" b="1" dirty="0" err="1" smtClean="0">
                <a:cs typeface="Arial" panose="020B0604020202020204" pitchFamily="34" charset="0"/>
              </a:endParaRPr>
            </a:p>
          </p:txBody>
        </p:sp>
      </p:grpSp>
      <p:sp>
        <p:nvSpPr>
          <p:cNvPr id="127" name="Rectangle 242"/>
          <p:cNvSpPr>
            <a:spLocks noChangeArrowheads="1"/>
          </p:cNvSpPr>
          <p:nvPr/>
        </p:nvSpPr>
        <p:spPr bwMode="auto">
          <a:xfrm>
            <a:off x="6082824" y="2124687"/>
            <a:ext cx="102431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ditional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ales </a:t>
            </a: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odel</a:t>
            </a:r>
            <a:endParaRPr lang="en-US" alt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242"/>
          <p:cNvSpPr>
            <a:spLocks noChangeArrowheads="1"/>
          </p:cNvSpPr>
          <p:nvPr/>
        </p:nvSpPr>
        <p:spPr bwMode="auto">
          <a:xfrm>
            <a:off x="6958767" y="3080048"/>
            <a:ext cx="76623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xed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ystems </a:t>
            </a:r>
            <a:endParaRPr lang="en-US" alt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Rectangle 129"/>
          <p:cNvSpPr>
            <a:spLocks noChangeArrowheads="1"/>
          </p:cNvSpPr>
          <p:nvPr/>
        </p:nvSpPr>
        <p:spPr bwMode="auto">
          <a:xfrm>
            <a:off x="5682542" y="3646523"/>
            <a:ext cx="79669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ack of </a:t>
            </a:r>
            <a:endParaRPr lang="en-US" altLang="zh-CN" sz="14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al-tim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edback</a:t>
            </a:r>
            <a:endParaRPr lang="en-US" altLang="zh-CN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Rectangle 250"/>
          <p:cNvSpPr>
            <a:spLocks noChangeArrowheads="1"/>
          </p:cNvSpPr>
          <p:nvPr/>
        </p:nvSpPr>
        <p:spPr bwMode="auto">
          <a:xfrm>
            <a:off x="2880855" y="2867748"/>
            <a:ext cx="145841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zh-CN" sz="1600" b="1" i="1" dirty="0" smtClean="0">
                <a:solidFill>
                  <a:srgbClr val="FFFFFF"/>
                </a:solidFill>
              </a:rPr>
              <a:t>Memory</a:t>
            </a:r>
            <a:r>
              <a:rPr lang="zh-CN" altLang="en-US" sz="1600" b="1" i="1" dirty="0" smtClean="0">
                <a:solidFill>
                  <a:srgbClr val="FFFFFF"/>
                </a:solidFill>
              </a:rPr>
              <a:t> </a:t>
            </a:r>
            <a:r>
              <a:rPr lang="en-US" altLang="zh-CN" sz="1600" b="1" i="1" dirty="0" smtClean="0">
                <a:solidFill>
                  <a:srgbClr val="FFFFFF"/>
                </a:solidFill>
              </a:rPr>
              <a:t>Bas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53018" y="2381979"/>
            <a:ext cx="2757582" cy="10153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</a:t>
            </a:r>
            <a:r>
              <a:rPr lang="zh-CN" altLang="en-US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rain: 4151* 269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est:   665 * </a:t>
            </a:r>
            <a:r>
              <a:rPr lang="en-US" altLang="zh-CN" sz="1600" b="1" dirty="0" smtClean="0"/>
              <a:t>269</a:t>
            </a:r>
            <a:endParaRPr lang="en-US" altLang="zh-CN" sz="16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9" name="Group 148"/>
          <p:cNvGrpSpPr/>
          <p:nvPr/>
        </p:nvGrpSpPr>
        <p:grpSpPr>
          <a:xfrm>
            <a:off x="5333172" y="2142915"/>
            <a:ext cx="536387" cy="589208"/>
            <a:chOff x="4491656" y="4461494"/>
            <a:chExt cx="851056" cy="899319"/>
          </a:xfrm>
        </p:grpSpPr>
        <p:sp>
          <p:nvSpPr>
            <p:cNvPr id="150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1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2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5330143" y="3720699"/>
            <a:ext cx="536387" cy="589208"/>
            <a:chOff x="4491656" y="4461494"/>
            <a:chExt cx="851056" cy="899319"/>
          </a:xfrm>
        </p:grpSpPr>
        <p:sp>
          <p:nvSpPr>
            <p:cNvPr id="154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5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56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57" name="TextBox 156"/>
          <p:cNvSpPr txBox="1"/>
          <p:nvPr/>
        </p:nvSpPr>
        <p:spPr>
          <a:xfrm>
            <a:off x="5866530" y="3995708"/>
            <a:ext cx="2744070" cy="10169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e</a:t>
            </a:r>
            <a:r>
              <a:rPr lang="zh-CN" altLang="en-US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b="1" dirty="0">
                <a:solidFill>
                  <a:srgbClr val="DC6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rain: 5055 * 1619</a:t>
            </a:r>
          </a:p>
          <a:p>
            <a:pPr>
              <a:lnSpc>
                <a:spcPct val="130000"/>
              </a:lnSpc>
            </a:pPr>
            <a:r>
              <a:rPr lang="en-US" altLang="zh-CN" sz="1600" b="1" dirty="0"/>
              <a:t>Test:   5055 * 1597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201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2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emory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18198" y="3095030"/>
            <a:ext cx="7859474" cy="4308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altLang="zh-CN" sz="1400" b="1" i="1" dirty="0" smtClean="0">
                <a:solidFill>
                  <a:srgbClr val="DC6900"/>
                </a:solidFill>
                <a:latin typeface="Georgia" charset="0"/>
                <a:ea typeface="Georgia" charset="0"/>
                <a:cs typeface="Georgia" charset="0"/>
              </a:rPr>
              <a:t>Similarity Weighting Comparison:</a:t>
            </a: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8199" y="1552838"/>
            <a:ext cx="7892401" cy="1040350"/>
            <a:chOff x="718199" y="1552838"/>
            <a:chExt cx="8275470" cy="1040350"/>
          </a:xfrm>
        </p:grpSpPr>
        <p:sp>
          <p:nvSpPr>
            <p:cNvPr id="144" name="TextBox 143"/>
            <p:cNvSpPr txBox="1"/>
            <p:nvPr/>
          </p:nvSpPr>
          <p:spPr>
            <a:xfrm>
              <a:off x="718875" y="1954560"/>
              <a:ext cx="2124933" cy="3943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endParaRPr lang="en-US" sz="16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412801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97"/>
            <p:cNvSpPr txBox="1"/>
            <p:nvPr/>
          </p:nvSpPr>
          <p:spPr>
            <a:xfrm>
              <a:off x="2431178" y="2056387"/>
              <a:ext cx="160788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pearman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718199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02"/>
            <p:cNvSpPr txBox="1"/>
            <p:nvPr/>
          </p:nvSpPr>
          <p:spPr>
            <a:xfrm>
              <a:off x="718199" y="2064893"/>
              <a:ext cx="2092054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earson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36"/>
            <p:cNvSpPr txBox="1"/>
            <p:nvPr/>
          </p:nvSpPr>
          <p:spPr>
            <a:xfrm>
              <a:off x="724391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TextBox 138"/>
            <p:cNvSpPr txBox="1"/>
            <p:nvPr/>
          </p:nvSpPr>
          <p:spPr>
            <a:xfrm>
              <a:off x="2388579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769831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97"/>
            <p:cNvSpPr txBox="1"/>
            <p:nvPr/>
          </p:nvSpPr>
          <p:spPr>
            <a:xfrm>
              <a:off x="5769831" y="2079966"/>
              <a:ext cx="189851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ean Square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403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102"/>
            <p:cNvSpPr txBox="1"/>
            <p:nvPr/>
          </p:nvSpPr>
          <p:spPr>
            <a:xfrm>
              <a:off x="4152050" y="2072597"/>
              <a:ext cx="1556017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ector(cosine)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085702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782824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7411937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424930" y="1552838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34" name="TextBox 97"/>
          <p:cNvSpPr txBox="1"/>
          <p:nvPr/>
        </p:nvSpPr>
        <p:spPr>
          <a:xfrm>
            <a:off x="7456506" y="2092269"/>
            <a:ext cx="1898513" cy="513222"/>
          </a:xfrm>
          <a:prstGeom prst="rect">
            <a:avLst/>
          </a:prstGeom>
          <a:noFill/>
        </p:spPr>
        <p:txBody>
          <a:bodyPr wrap="square" lIns="0" tIns="39096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34551">
              <a:spcAft>
                <a:spcPts val="257"/>
              </a:spcAft>
            </a:pPr>
            <a:r>
              <a:rPr lang="en-US" sz="127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imRank</a:t>
            </a:r>
            <a:endParaRPr lang="en-US" sz="127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422907"/>
              </p:ext>
            </p:extLst>
          </p:nvPr>
        </p:nvGraphicFramePr>
        <p:xfrm>
          <a:off x="718198" y="3673895"/>
          <a:ext cx="7859473" cy="1562759"/>
        </p:xfrm>
        <a:graphic>
          <a:graphicData uri="http://schemas.openxmlformats.org/drawingml/2006/table">
            <a:tbl>
              <a:tblPr>
                <a:tableStyleId>{69D073F8-1565-44D7-B386-08B59EADF2EE}</a:tableStyleId>
              </a:tblPr>
              <a:tblGrid>
                <a:gridCol w="1263465"/>
                <a:gridCol w="804359"/>
                <a:gridCol w="1215458"/>
                <a:gridCol w="1134427"/>
                <a:gridCol w="914834"/>
                <a:gridCol w="1263465"/>
                <a:gridCol w="1263465"/>
              </a:tblGrid>
              <a:tr h="437940"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sk-S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sk-S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ears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pearma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Vect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ean Squa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imRank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897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ank Scor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5723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5723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.8173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5625.77</a:t>
                      </a:r>
                      <a:r>
                        <a:rPr lang="nb-NO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?*</a:t>
                      </a:r>
                      <a:endParaRPr lang="nb-NO" sz="1200" b="1" i="0" u="none" strike="noStrike" dirty="0">
                        <a:solidFill>
                          <a:srgbClr val="C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mr-IN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/</a:t>
                      </a:r>
                      <a:endParaRPr lang="mr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147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A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vi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85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85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r-HR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95303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6.54</a:t>
                      </a:r>
                      <a:r>
                        <a:rPr lang="sk-SK" sz="12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?*</a:t>
                      </a:r>
                      <a:endParaRPr lang="sk-SK" sz="1200" b="1" i="0" u="none" strike="noStrike" dirty="0">
                        <a:solidFill>
                          <a:srgbClr val="C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0497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8970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un tim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76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70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.62h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7h</a:t>
                      </a:r>
                      <a:endParaRPr lang="hr-HR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mr-IN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/</a:t>
                      </a:r>
                      <a:endParaRPr lang="mr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147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ovi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75h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.28h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200" u="none" strike="noStrike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5h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1000 </a:t>
                      </a:r>
                      <a:r>
                        <a:rPr lang="sk-SK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ows</a:t>
                      </a:r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)</a:t>
                      </a:r>
                    </a:p>
                    <a:p>
                      <a:pPr algn="l" fontAlgn="ctr"/>
                      <a:r>
                        <a:rPr lang="sk-SK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.5h</a:t>
                      </a:r>
                      <a:endParaRPr lang="sk-S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200" u="none" strike="noStrike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1000 </a:t>
                      </a:r>
                      <a:r>
                        <a:rPr lang="pl-PL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ows</a:t>
                      </a:r>
                      <a:r>
                        <a:rPr lang="pl-PL" sz="1200" u="none" strike="noStrike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) </a:t>
                      </a:r>
                      <a:endParaRPr lang="pl-PL" sz="1200" u="none" strike="noStrike" dirty="0" smtClean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algn="l" rtl="0" fontAlgn="b"/>
                      <a:r>
                        <a:rPr lang="pl-PL" sz="1200" u="none" strike="noStrike" dirty="0" err="1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ver</a:t>
                      </a:r>
                      <a:r>
                        <a:rPr lang="pl-PL" sz="1200" u="none" strike="noStrike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pl-PL" sz="1200" u="none" strike="noStrike" baseline="0" dirty="0" smtClean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h</a:t>
                      </a:r>
                      <a:endParaRPr lang="pl-PL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350" marR="6350" marT="635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718197" y="5590762"/>
            <a:ext cx="7859474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altLang="zh-CN" sz="800" b="1" i="1" smtClean="0">
                <a:latin typeface="Georgia" charset="0"/>
                <a:ea typeface="Georgia" charset="0"/>
                <a:cs typeface="Georgia" charset="0"/>
              </a:rPr>
              <a:t>*: need further analysis</a:t>
            </a:r>
            <a:endParaRPr lang="en-US" altLang="zh-CN" sz="800" b="1" i="1" dirty="0" smtClean="0">
              <a:latin typeface="Georgia" charset="0"/>
              <a:ea typeface="Georgia" charset="0"/>
              <a:cs typeface="Georgia" charset="0"/>
            </a:endParaRPr>
          </a:p>
          <a:p>
            <a:endParaRPr lang="en-GB" sz="7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60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91469"/>
              </p:ext>
            </p:extLst>
          </p:nvPr>
        </p:nvGraphicFramePr>
        <p:xfrm>
          <a:off x="467544" y="572656"/>
          <a:ext cx="8143056" cy="1219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0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894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3.1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71600" y="1578496"/>
            <a:ext cx="72728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dirty="0">
              <a:latin typeface="Georgia" charset="0"/>
              <a:ea typeface="Georgia" charset="0"/>
              <a:cs typeface="Georgia" charset="0"/>
            </a:endParaRPr>
          </a:p>
          <a:p>
            <a:pPr marL="285750" indent="-285750">
              <a:buFont typeface="Arial" charset="0"/>
              <a:buChar char="•"/>
            </a:pPr>
            <a:endParaRPr lang="en-US" dirty="0" smtClean="0">
              <a:latin typeface="Georgia" charset="0"/>
              <a:ea typeface="Georgia" charset="0"/>
              <a:cs typeface="Georgia" charset="0"/>
            </a:endParaRPr>
          </a:p>
          <a:p>
            <a:endParaRPr lang="en-US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10061" y="1687664"/>
            <a:ext cx="536387" cy="589208"/>
            <a:chOff x="4491656" y="4461494"/>
            <a:chExt cx="851056" cy="899319"/>
          </a:xfrm>
        </p:grpSpPr>
        <p:sp>
          <p:nvSpPr>
            <p:cNvPr id="7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8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979712" y="2083350"/>
            <a:ext cx="6264696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Idea: 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which other users’ data to use in the prediction for a user</a:t>
            </a:r>
            <a:r>
              <a:rPr lang="en-US" sz="1600" dirty="0" smtClean="0">
                <a:latin typeface="Georgia" charset="0"/>
                <a:ea typeface="Georgia" charset="0"/>
                <a:cs typeface="Georgia" charset="0"/>
              </a:rPr>
              <a:t>.</a:t>
            </a:r>
            <a:endParaRPr lang="en-US" sz="1600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110061" y="2636912"/>
            <a:ext cx="536387" cy="589208"/>
            <a:chOff x="4491656" y="4461494"/>
            <a:chExt cx="851056" cy="899319"/>
          </a:xfrm>
        </p:grpSpPr>
        <p:sp>
          <p:nvSpPr>
            <p:cNvPr id="12" name="Freeform 160"/>
            <p:cNvSpPr>
              <a:spLocks/>
            </p:cNvSpPr>
            <p:nvPr/>
          </p:nvSpPr>
          <p:spPr bwMode="auto">
            <a:xfrm>
              <a:off x="4727451" y="4894882"/>
              <a:ext cx="238125" cy="238125"/>
            </a:xfrm>
            <a:custGeom>
              <a:avLst/>
              <a:gdLst>
                <a:gd name="T0" fmla="*/ 118 w 150"/>
                <a:gd name="T1" fmla="*/ 82 h 150"/>
                <a:gd name="T2" fmla="*/ 50 w 150"/>
                <a:gd name="T3" fmla="*/ 86 h 150"/>
                <a:gd name="T4" fmla="*/ 115 w 150"/>
                <a:gd name="T5" fmla="*/ 12 h 150"/>
                <a:gd name="T6" fmla="*/ 115 w 150"/>
                <a:gd name="T7" fmla="*/ 12 h 150"/>
                <a:gd name="T8" fmla="*/ 105 w 150"/>
                <a:gd name="T9" fmla="*/ 7 h 150"/>
                <a:gd name="T10" fmla="*/ 96 w 150"/>
                <a:gd name="T11" fmla="*/ 3 h 150"/>
                <a:gd name="T12" fmla="*/ 85 w 150"/>
                <a:gd name="T13" fmla="*/ 2 h 150"/>
                <a:gd name="T14" fmla="*/ 75 w 150"/>
                <a:gd name="T15" fmla="*/ 0 h 150"/>
                <a:gd name="T16" fmla="*/ 75 w 150"/>
                <a:gd name="T17" fmla="*/ 0 h 150"/>
                <a:gd name="T18" fmla="*/ 60 w 150"/>
                <a:gd name="T19" fmla="*/ 2 h 150"/>
                <a:gd name="T20" fmla="*/ 46 w 150"/>
                <a:gd name="T21" fmla="*/ 6 h 150"/>
                <a:gd name="T22" fmla="*/ 33 w 150"/>
                <a:gd name="T23" fmla="*/ 13 h 150"/>
                <a:gd name="T24" fmla="*/ 22 w 150"/>
                <a:gd name="T25" fmla="*/ 22 h 150"/>
                <a:gd name="T26" fmla="*/ 13 w 150"/>
                <a:gd name="T27" fmla="*/ 33 h 150"/>
                <a:gd name="T28" fmla="*/ 6 w 150"/>
                <a:gd name="T29" fmla="*/ 46 h 150"/>
                <a:gd name="T30" fmla="*/ 2 w 150"/>
                <a:gd name="T31" fmla="*/ 59 h 150"/>
                <a:gd name="T32" fmla="*/ 0 w 150"/>
                <a:gd name="T33" fmla="*/ 75 h 150"/>
                <a:gd name="T34" fmla="*/ 0 w 150"/>
                <a:gd name="T35" fmla="*/ 75 h 150"/>
                <a:gd name="T36" fmla="*/ 2 w 150"/>
                <a:gd name="T37" fmla="*/ 89 h 150"/>
                <a:gd name="T38" fmla="*/ 6 w 150"/>
                <a:gd name="T39" fmla="*/ 104 h 150"/>
                <a:gd name="T40" fmla="*/ 13 w 150"/>
                <a:gd name="T41" fmla="*/ 116 h 150"/>
                <a:gd name="T42" fmla="*/ 22 w 150"/>
                <a:gd name="T43" fmla="*/ 128 h 150"/>
                <a:gd name="T44" fmla="*/ 33 w 150"/>
                <a:gd name="T45" fmla="*/ 137 h 150"/>
                <a:gd name="T46" fmla="*/ 46 w 150"/>
                <a:gd name="T47" fmla="*/ 144 h 150"/>
                <a:gd name="T48" fmla="*/ 60 w 150"/>
                <a:gd name="T49" fmla="*/ 148 h 150"/>
                <a:gd name="T50" fmla="*/ 75 w 150"/>
                <a:gd name="T51" fmla="*/ 150 h 150"/>
                <a:gd name="T52" fmla="*/ 75 w 150"/>
                <a:gd name="T53" fmla="*/ 150 h 150"/>
                <a:gd name="T54" fmla="*/ 91 w 150"/>
                <a:gd name="T55" fmla="*/ 148 h 150"/>
                <a:gd name="T56" fmla="*/ 104 w 150"/>
                <a:gd name="T57" fmla="*/ 144 h 150"/>
                <a:gd name="T58" fmla="*/ 117 w 150"/>
                <a:gd name="T59" fmla="*/ 137 h 150"/>
                <a:gd name="T60" fmla="*/ 128 w 150"/>
                <a:gd name="T61" fmla="*/ 128 h 150"/>
                <a:gd name="T62" fmla="*/ 137 w 150"/>
                <a:gd name="T63" fmla="*/ 116 h 150"/>
                <a:gd name="T64" fmla="*/ 144 w 150"/>
                <a:gd name="T65" fmla="*/ 104 h 150"/>
                <a:gd name="T66" fmla="*/ 148 w 150"/>
                <a:gd name="T67" fmla="*/ 89 h 150"/>
                <a:gd name="T68" fmla="*/ 150 w 150"/>
                <a:gd name="T69" fmla="*/ 75 h 150"/>
                <a:gd name="T70" fmla="*/ 150 w 150"/>
                <a:gd name="T71" fmla="*/ 75 h 150"/>
                <a:gd name="T72" fmla="*/ 148 w 150"/>
                <a:gd name="T73" fmla="*/ 62 h 150"/>
                <a:gd name="T74" fmla="*/ 145 w 150"/>
                <a:gd name="T75" fmla="*/ 50 h 150"/>
                <a:gd name="T76" fmla="*/ 118 w 150"/>
                <a:gd name="T77" fmla="*/ 8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" h="150">
                  <a:moveTo>
                    <a:pt x="118" y="82"/>
                  </a:moveTo>
                  <a:lnTo>
                    <a:pt x="50" y="86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5" y="7"/>
                  </a:lnTo>
                  <a:lnTo>
                    <a:pt x="96" y="3"/>
                  </a:lnTo>
                  <a:lnTo>
                    <a:pt x="85" y="2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3"/>
                  </a:lnTo>
                  <a:lnTo>
                    <a:pt x="22" y="22"/>
                  </a:lnTo>
                  <a:lnTo>
                    <a:pt x="13" y="33"/>
                  </a:lnTo>
                  <a:lnTo>
                    <a:pt x="6" y="46"/>
                  </a:lnTo>
                  <a:lnTo>
                    <a:pt x="2" y="5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2" y="89"/>
                  </a:lnTo>
                  <a:lnTo>
                    <a:pt x="6" y="104"/>
                  </a:lnTo>
                  <a:lnTo>
                    <a:pt x="13" y="116"/>
                  </a:lnTo>
                  <a:lnTo>
                    <a:pt x="22" y="128"/>
                  </a:lnTo>
                  <a:lnTo>
                    <a:pt x="33" y="137"/>
                  </a:lnTo>
                  <a:lnTo>
                    <a:pt x="46" y="144"/>
                  </a:lnTo>
                  <a:lnTo>
                    <a:pt x="60" y="148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91" y="148"/>
                  </a:lnTo>
                  <a:lnTo>
                    <a:pt x="104" y="144"/>
                  </a:lnTo>
                  <a:lnTo>
                    <a:pt x="117" y="137"/>
                  </a:lnTo>
                  <a:lnTo>
                    <a:pt x="128" y="128"/>
                  </a:lnTo>
                  <a:lnTo>
                    <a:pt x="137" y="116"/>
                  </a:lnTo>
                  <a:lnTo>
                    <a:pt x="144" y="104"/>
                  </a:lnTo>
                  <a:lnTo>
                    <a:pt x="148" y="89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48" y="62"/>
                  </a:lnTo>
                  <a:lnTo>
                    <a:pt x="145" y="50"/>
                  </a:lnTo>
                  <a:lnTo>
                    <a:pt x="118" y="8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3" name="Freeform 161"/>
            <p:cNvSpPr>
              <a:spLocks/>
            </p:cNvSpPr>
            <p:nvPr/>
          </p:nvSpPr>
          <p:spPr bwMode="auto">
            <a:xfrm>
              <a:off x="4491656" y="4667075"/>
              <a:ext cx="693738" cy="693738"/>
            </a:xfrm>
            <a:custGeom>
              <a:avLst/>
              <a:gdLst>
                <a:gd name="T0" fmla="*/ 354 w 437"/>
                <a:gd name="T1" fmla="*/ 157 h 437"/>
                <a:gd name="T2" fmla="*/ 368 w 437"/>
                <a:gd name="T3" fmla="*/ 219 h 437"/>
                <a:gd name="T4" fmla="*/ 365 w 437"/>
                <a:gd name="T5" fmla="*/ 249 h 437"/>
                <a:gd name="T6" fmla="*/ 350 w 437"/>
                <a:gd name="T7" fmla="*/ 291 h 437"/>
                <a:gd name="T8" fmla="*/ 325 w 437"/>
                <a:gd name="T9" fmla="*/ 325 h 437"/>
                <a:gd name="T10" fmla="*/ 291 w 437"/>
                <a:gd name="T11" fmla="*/ 350 h 437"/>
                <a:gd name="T12" fmla="*/ 249 w 437"/>
                <a:gd name="T13" fmla="*/ 365 h 437"/>
                <a:gd name="T14" fmla="*/ 219 w 437"/>
                <a:gd name="T15" fmla="*/ 368 h 437"/>
                <a:gd name="T16" fmla="*/ 174 w 437"/>
                <a:gd name="T17" fmla="*/ 361 h 437"/>
                <a:gd name="T18" fmla="*/ 136 w 437"/>
                <a:gd name="T19" fmla="*/ 342 h 437"/>
                <a:gd name="T20" fmla="*/ 104 w 437"/>
                <a:gd name="T21" fmla="*/ 314 h 437"/>
                <a:gd name="T22" fmla="*/ 81 w 437"/>
                <a:gd name="T23" fmla="*/ 276 h 437"/>
                <a:gd name="T24" fmla="*/ 71 w 437"/>
                <a:gd name="T25" fmla="*/ 235 h 437"/>
                <a:gd name="T26" fmla="*/ 71 w 437"/>
                <a:gd name="T27" fmla="*/ 203 h 437"/>
                <a:gd name="T28" fmla="*/ 81 w 437"/>
                <a:gd name="T29" fmla="*/ 161 h 437"/>
                <a:gd name="T30" fmla="*/ 104 w 437"/>
                <a:gd name="T31" fmla="*/ 124 h 437"/>
                <a:gd name="T32" fmla="*/ 136 w 437"/>
                <a:gd name="T33" fmla="*/ 95 h 437"/>
                <a:gd name="T34" fmla="*/ 174 w 437"/>
                <a:gd name="T35" fmla="*/ 77 h 437"/>
                <a:gd name="T36" fmla="*/ 219 w 437"/>
                <a:gd name="T37" fmla="*/ 69 h 437"/>
                <a:gd name="T38" fmla="*/ 245 w 437"/>
                <a:gd name="T39" fmla="*/ 72 h 437"/>
                <a:gd name="T40" fmla="*/ 282 w 437"/>
                <a:gd name="T41" fmla="*/ 84 h 437"/>
                <a:gd name="T42" fmla="*/ 314 w 437"/>
                <a:gd name="T43" fmla="*/ 104 h 437"/>
                <a:gd name="T44" fmla="*/ 342 w 437"/>
                <a:gd name="T45" fmla="*/ 38 h 437"/>
                <a:gd name="T46" fmla="*/ 294 w 437"/>
                <a:gd name="T47" fmla="*/ 13 h 437"/>
                <a:gd name="T48" fmla="*/ 239 w 437"/>
                <a:gd name="T49" fmla="*/ 2 h 437"/>
                <a:gd name="T50" fmla="*/ 197 w 437"/>
                <a:gd name="T51" fmla="*/ 2 h 437"/>
                <a:gd name="T52" fmla="*/ 134 w 437"/>
                <a:gd name="T53" fmla="*/ 18 h 437"/>
                <a:gd name="T54" fmla="*/ 79 w 437"/>
                <a:gd name="T55" fmla="*/ 51 h 437"/>
                <a:gd name="T56" fmla="*/ 38 w 437"/>
                <a:gd name="T57" fmla="*/ 97 h 437"/>
                <a:gd name="T58" fmla="*/ 10 w 437"/>
                <a:gd name="T59" fmla="*/ 154 h 437"/>
                <a:gd name="T60" fmla="*/ 0 w 437"/>
                <a:gd name="T61" fmla="*/ 219 h 437"/>
                <a:gd name="T62" fmla="*/ 5 w 437"/>
                <a:gd name="T63" fmla="*/ 263 h 437"/>
                <a:gd name="T64" fmla="*/ 26 w 437"/>
                <a:gd name="T65" fmla="*/ 322 h 437"/>
                <a:gd name="T66" fmla="*/ 65 w 437"/>
                <a:gd name="T67" fmla="*/ 373 h 437"/>
                <a:gd name="T68" fmla="*/ 115 w 437"/>
                <a:gd name="T69" fmla="*/ 411 h 437"/>
                <a:gd name="T70" fmla="*/ 174 w 437"/>
                <a:gd name="T71" fmla="*/ 433 h 437"/>
                <a:gd name="T72" fmla="*/ 219 w 437"/>
                <a:gd name="T73" fmla="*/ 437 h 437"/>
                <a:gd name="T74" fmla="*/ 284 w 437"/>
                <a:gd name="T75" fmla="*/ 427 h 437"/>
                <a:gd name="T76" fmla="*/ 341 w 437"/>
                <a:gd name="T77" fmla="*/ 400 h 437"/>
                <a:gd name="T78" fmla="*/ 387 w 437"/>
                <a:gd name="T79" fmla="*/ 358 h 437"/>
                <a:gd name="T80" fmla="*/ 420 w 437"/>
                <a:gd name="T81" fmla="*/ 304 h 437"/>
                <a:gd name="T82" fmla="*/ 436 w 437"/>
                <a:gd name="T83" fmla="*/ 240 h 437"/>
                <a:gd name="T84" fmla="*/ 437 w 437"/>
                <a:gd name="T85" fmla="*/ 200 h 437"/>
                <a:gd name="T86" fmla="*/ 424 w 437"/>
                <a:gd name="T87" fmla="*/ 146 h 437"/>
                <a:gd name="T88" fmla="*/ 400 w 437"/>
                <a:gd name="T89" fmla="*/ 9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7" h="437">
                  <a:moveTo>
                    <a:pt x="344" y="138"/>
                  </a:moveTo>
                  <a:lnTo>
                    <a:pt x="344" y="138"/>
                  </a:lnTo>
                  <a:lnTo>
                    <a:pt x="354" y="157"/>
                  </a:lnTo>
                  <a:lnTo>
                    <a:pt x="363" y="176"/>
                  </a:lnTo>
                  <a:lnTo>
                    <a:pt x="367" y="197"/>
                  </a:lnTo>
                  <a:lnTo>
                    <a:pt x="368" y="219"/>
                  </a:lnTo>
                  <a:lnTo>
                    <a:pt x="368" y="219"/>
                  </a:lnTo>
                  <a:lnTo>
                    <a:pt x="368" y="235"/>
                  </a:lnTo>
                  <a:lnTo>
                    <a:pt x="365" y="249"/>
                  </a:lnTo>
                  <a:lnTo>
                    <a:pt x="361" y="263"/>
                  </a:lnTo>
                  <a:lnTo>
                    <a:pt x="357" y="276"/>
                  </a:lnTo>
                  <a:lnTo>
                    <a:pt x="350" y="291"/>
                  </a:lnTo>
                  <a:lnTo>
                    <a:pt x="342" y="302"/>
                  </a:lnTo>
                  <a:lnTo>
                    <a:pt x="334" y="314"/>
                  </a:lnTo>
                  <a:lnTo>
                    <a:pt x="325" y="325"/>
                  </a:lnTo>
                  <a:lnTo>
                    <a:pt x="314" y="334"/>
                  </a:lnTo>
                  <a:lnTo>
                    <a:pt x="302" y="342"/>
                  </a:lnTo>
                  <a:lnTo>
                    <a:pt x="291" y="350"/>
                  </a:lnTo>
                  <a:lnTo>
                    <a:pt x="278" y="357"/>
                  </a:lnTo>
                  <a:lnTo>
                    <a:pt x="263" y="361"/>
                  </a:lnTo>
                  <a:lnTo>
                    <a:pt x="249" y="365"/>
                  </a:lnTo>
                  <a:lnTo>
                    <a:pt x="235" y="368"/>
                  </a:lnTo>
                  <a:lnTo>
                    <a:pt x="219" y="368"/>
                  </a:lnTo>
                  <a:lnTo>
                    <a:pt x="219" y="368"/>
                  </a:lnTo>
                  <a:lnTo>
                    <a:pt x="203" y="368"/>
                  </a:lnTo>
                  <a:lnTo>
                    <a:pt x="189" y="365"/>
                  </a:lnTo>
                  <a:lnTo>
                    <a:pt x="174" y="361"/>
                  </a:lnTo>
                  <a:lnTo>
                    <a:pt x="161" y="357"/>
                  </a:lnTo>
                  <a:lnTo>
                    <a:pt x="147" y="350"/>
                  </a:lnTo>
                  <a:lnTo>
                    <a:pt x="136" y="342"/>
                  </a:lnTo>
                  <a:lnTo>
                    <a:pt x="124" y="334"/>
                  </a:lnTo>
                  <a:lnTo>
                    <a:pt x="113" y="325"/>
                  </a:lnTo>
                  <a:lnTo>
                    <a:pt x="104" y="314"/>
                  </a:lnTo>
                  <a:lnTo>
                    <a:pt x="95" y="302"/>
                  </a:lnTo>
                  <a:lnTo>
                    <a:pt x="88" y="291"/>
                  </a:lnTo>
                  <a:lnTo>
                    <a:pt x="81" y="276"/>
                  </a:lnTo>
                  <a:lnTo>
                    <a:pt x="77" y="263"/>
                  </a:lnTo>
                  <a:lnTo>
                    <a:pt x="72" y="249"/>
                  </a:lnTo>
                  <a:lnTo>
                    <a:pt x="71" y="235"/>
                  </a:lnTo>
                  <a:lnTo>
                    <a:pt x="69" y="219"/>
                  </a:lnTo>
                  <a:lnTo>
                    <a:pt x="69" y="219"/>
                  </a:lnTo>
                  <a:lnTo>
                    <a:pt x="71" y="203"/>
                  </a:lnTo>
                  <a:lnTo>
                    <a:pt x="72" y="189"/>
                  </a:lnTo>
                  <a:lnTo>
                    <a:pt x="77" y="174"/>
                  </a:lnTo>
                  <a:lnTo>
                    <a:pt x="81" y="161"/>
                  </a:lnTo>
                  <a:lnTo>
                    <a:pt x="88" y="147"/>
                  </a:lnTo>
                  <a:lnTo>
                    <a:pt x="95" y="135"/>
                  </a:lnTo>
                  <a:lnTo>
                    <a:pt x="104" y="124"/>
                  </a:lnTo>
                  <a:lnTo>
                    <a:pt x="113" y="112"/>
                  </a:lnTo>
                  <a:lnTo>
                    <a:pt x="124" y="104"/>
                  </a:lnTo>
                  <a:lnTo>
                    <a:pt x="136" y="95"/>
                  </a:lnTo>
                  <a:lnTo>
                    <a:pt x="147" y="88"/>
                  </a:lnTo>
                  <a:lnTo>
                    <a:pt x="161" y="81"/>
                  </a:lnTo>
                  <a:lnTo>
                    <a:pt x="174" y="77"/>
                  </a:lnTo>
                  <a:lnTo>
                    <a:pt x="189" y="72"/>
                  </a:lnTo>
                  <a:lnTo>
                    <a:pt x="203" y="69"/>
                  </a:lnTo>
                  <a:lnTo>
                    <a:pt x="219" y="69"/>
                  </a:lnTo>
                  <a:lnTo>
                    <a:pt x="219" y="69"/>
                  </a:lnTo>
                  <a:lnTo>
                    <a:pt x="232" y="69"/>
                  </a:lnTo>
                  <a:lnTo>
                    <a:pt x="245" y="72"/>
                  </a:lnTo>
                  <a:lnTo>
                    <a:pt x="258" y="75"/>
                  </a:lnTo>
                  <a:lnTo>
                    <a:pt x="271" y="78"/>
                  </a:lnTo>
                  <a:lnTo>
                    <a:pt x="282" y="84"/>
                  </a:lnTo>
                  <a:lnTo>
                    <a:pt x="294" y="89"/>
                  </a:lnTo>
                  <a:lnTo>
                    <a:pt x="304" y="95"/>
                  </a:lnTo>
                  <a:lnTo>
                    <a:pt x="314" y="104"/>
                  </a:lnTo>
                  <a:lnTo>
                    <a:pt x="357" y="49"/>
                  </a:lnTo>
                  <a:lnTo>
                    <a:pt x="357" y="49"/>
                  </a:lnTo>
                  <a:lnTo>
                    <a:pt x="342" y="38"/>
                  </a:lnTo>
                  <a:lnTo>
                    <a:pt x="327" y="29"/>
                  </a:lnTo>
                  <a:lnTo>
                    <a:pt x="311" y="20"/>
                  </a:lnTo>
                  <a:lnTo>
                    <a:pt x="294" y="13"/>
                  </a:lnTo>
                  <a:lnTo>
                    <a:pt x="275" y="8"/>
                  </a:lnTo>
                  <a:lnTo>
                    <a:pt x="258" y="3"/>
                  </a:lnTo>
                  <a:lnTo>
                    <a:pt x="239" y="2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7" y="2"/>
                  </a:lnTo>
                  <a:lnTo>
                    <a:pt x="174" y="5"/>
                  </a:lnTo>
                  <a:lnTo>
                    <a:pt x="154" y="10"/>
                  </a:lnTo>
                  <a:lnTo>
                    <a:pt x="134" y="18"/>
                  </a:lnTo>
                  <a:lnTo>
                    <a:pt x="115" y="26"/>
                  </a:lnTo>
                  <a:lnTo>
                    <a:pt x="97" y="38"/>
                  </a:lnTo>
                  <a:lnTo>
                    <a:pt x="79" y="51"/>
                  </a:lnTo>
                  <a:lnTo>
                    <a:pt x="65" y="65"/>
                  </a:lnTo>
                  <a:lnTo>
                    <a:pt x="51" y="79"/>
                  </a:lnTo>
                  <a:lnTo>
                    <a:pt x="38" y="97"/>
                  </a:lnTo>
                  <a:lnTo>
                    <a:pt x="26" y="115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5" y="174"/>
                  </a:lnTo>
                  <a:lnTo>
                    <a:pt x="2" y="19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2" y="240"/>
                  </a:lnTo>
                  <a:lnTo>
                    <a:pt x="5" y="263"/>
                  </a:lnTo>
                  <a:lnTo>
                    <a:pt x="10" y="283"/>
                  </a:lnTo>
                  <a:lnTo>
                    <a:pt x="18" y="304"/>
                  </a:lnTo>
                  <a:lnTo>
                    <a:pt x="26" y="322"/>
                  </a:lnTo>
                  <a:lnTo>
                    <a:pt x="38" y="341"/>
                  </a:lnTo>
                  <a:lnTo>
                    <a:pt x="51" y="358"/>
                  </a:lnTo>
                  <a:lnTo>
                    <a:pt x="65" y="373"/>
                  </a:lnTo>
                  <a:lnTo>
                    <a:pt x="79" y="387"/>
                  </a:lnTo>
                  <a:lnTo>
                    <a:pt x="97" y="400"/>
                  </a:lnTo>
                  <a:lnTo>
                    <a:pt x="115" y="411"/>
                  </a:lnTo>
                  <a:lnTo>
                    <a:pt x="134" y="420"/>
                  </a:lnTo>
                  <a:lnTo>
                    <a:pt x="154" y="427"/>
                  </a:lnTo>
                  <a:lnTo>
                    <a:pt x="174" y="433"/>
                  </a:lnTo>
                  <a:lnTo>
                    <a:pt x="197" y="436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42" y="436"/>
                  </a:lnTo>
                  <a:lnTo>
                    <a:pt x="263" y="433"/>
                  </a:lnTo>
                  <a:lnTo>
                    <a:pt x="284" y="427"/>
                  </a:lnTo>
                  <a:lnTo>
                    <a:pt x="304" y="420"/>
                  </a:lnTo>
                  <a:lnTo>
                    <a:pt x="322" y="411"/>
                  </a:lnTo>
                  <a:lnTo>
                    <a:pt x="341" y="400"/>
                  </a:lnTo>
                  <a:lnTo>
                    <a:pt x="358" y="387"/>
                  </a:lnTo>
                  <a:lnTo>
                    <a:pt x="374" y="373"/>
                  </a:lnTo>
                  <a:lnTo>
                    <a:pt x="387" y="358"/>
                  </a:lnTo>
                  <a:lnTo>
                    <a:pt x="400" y="341"/>
                  </a:lnTo>
                  <a:lnTo>
                    <a:pt x="411" y="322"/>
                  </a:lnTo>
                  <a:lnTo>
                    <a:pt x="420" y="304"/>
                  </a:lnTo>
                  <a:lnTo>
                    <a:pt x="427" y="283"/>
                  </a:lnTo>
                  <a:lnTo>
                    <a:pt x="433" y="263"/>
                  </a:lnTo>
                  <a:lnTo>
                    <a:pt x="436" y="24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00"/>
                  </a:lnTo>
                  <a:lnTo>
                    <a:pt x="434" y="181"/>
                  </a:lnTo>
                  <a:lnTo>
                    <a:pt x="430" y="163"/>
                  </a:lnTo>
                  <a:lnTo>
                    <a:pt x="424" y="146"/>
                  </a:lnTo>
                  <a:lnTo>
                    <a:pt x="417" y="128"/>
                  </a:lnTo>
                  <a:lnTo>
                    <a:pt x="410" y="112"/>
                  </a:lnTo>
                  <a:lnTo>
                    <a:pt x="400" y="97"/>
                  </a:lnTo>
                  <a:lnTo>
                    <a:pt x="390" y="82"/>
                  </a:lnTo>
                  <a:lnTo>
                    <a:pt x="344" y="138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14" name="Freeform 162"/>
            <p:cNvSpPr>
              <a:spLocks/>
            </p:cNvSpPr>
            <p:nvPr/>
          </p:nvSpPr>
          <p:spPr bwMode="auto">
            <a:xfrm>
              <a:off x="4858524" y="4461494"/>
              <a:ext cx="484188" cy="569913"/>
            </a:xfrm>
            <a:custGeom>
              <a:avLst/>
              <a:gdLst>
                <a:gd name="T0" fmla="*/ 305 w 305"/>
                <a:gd name="T1" fmla="*/ 62 h 359"/>
                <a:gd name="T2" fmla="*/ 236 w 305"/>
                <a:gd name="T3" fmla="*/ 69 h 359"/>
                <a:gd name="T4" fmla="*/ 229 w 305"/>
                <a:gd name="T5" fmla="*/ 0 h 359"/>
                <a:gd name="T6" fmla="*/ 173 w 305"/>
                <a:gd name="T7" fmla="*/ 70 h 359"/>
                <a:gd name="T8" fmla="*/ 166 w 305"/>
                <a:gd name="T9" fmla="*/ 121 h 359"/>
                <a:gd name="T10" fmla="*/ 6 w 305"/>
                <a:gd name="T11" fmla="*/ 318 h 359"/>
                <a:gd name="T12" fmla="*/ 0 w 305"/>
                <a:gd name="T13" fmla="*/ 359 h 359"/>
                <a:gd name="T14" fmla="*/ 42 w 305"/>
                <a:gd name="T15" fmla="*/ 346 h 359"/>
                <a:gd name="T16" fmla="*/ 203 w 305"/>
                <a:gd name="T17" fmla="*/ 149 h 359"/>
                <a:gd name="T18" fmla="*/ 251 w 305"/>
                <a:gd name="T19" fmla="*/ 131 h 359"/>
                <a:gd name="T20" fmla="*/ 305 w 305"/>
                <a:gd name="T21" fmla="*/ 6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359">
                  <a:moveTo>
                    <a:pt x="305" y="62"/>
                  </a:moveTo>
                  <a:lnTo>
                    <a:pt x="236" y="69"/>
                  </a:lnTo>
                  <a:lnTo>
                    <a:pt x="229" y="0"/>
                  </a:lnTo>
                  <a:lnTo>
                    <a:pt x="173" y="70"/>
                  </a:lnTo>
                  <a:lnTo>
                    <a:pt x="166" y="121"/>
                  </a:lnTo>
                  <a:lnTo>
                    <a:pt x="6" y="318"/>
                  </a:lnTo>
                  <a:lnTo>
                    <a:pt x="0" y="359"/>
                  </a:lnTo>
                  <a:lnTo>
                    <a:pt x="42" y="346"/>
                  </a:lnTo>
                  <a:lnTo>
                    <a:pt x="203" y="149"/>
                  </a:lnTo>
                  <a:lnTo>
                    <a:pt x="251" y="131"/>
                  </a:lnTo>
                  <a:lnTo>
                    <a:pt x="305" y="62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979712" y="2762239"/>
            <a:ext cx="6264696" cy="16979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513"/>
              </a:spcAft>
              <a:buClr>
                <a:schemeClr val="tx1"/>
              </a:buClr>
              <a:defRPr/>
            </a:pP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Neighboring improves </a:t>
            </a:r>
            <a:endParaRPr lang="en-US" sz="1600" b="1" dirty="0" smtClean="0">
              <a:latin typeface="Georgia" charset="0"/>
              <a:ea typeface="Georgia" charset="0"/>
              <a:cs typeface="Georgia" charset="0"/>
            </a:endParaRPr>
          </a:p>
          <a:p>
            <a:pPr marL="342900" indent="-342900">
              <a:spcAft>
                <a:spcPts val="513"/>
              </a:spcAft>
              <a:buClr>
                <a:schemeClr val="tx1"/>
              </a:buClr>
              <a:buAutoNum type="arabicParenBoth"/>
              <a:defRPr/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accuracy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, as high correlates can be exceptionally more valuable as predictors, and </a:t>
            </a:r>
            <a:endParaRPr lang="en-US" sz="1600" dirty="0" smtClean="0">
              <a:latin typeface="Georgia" charset="0"/>
              <a:ea typeface="Georgia" charset="0"/>
              <a:cs typeface="Georgia" charset="0"/>
            </a:endParaRPr>
          </a:p>
          <a:p>
            <a:pPr marL="342900" indent="-342900">
              <a:spcAft>
                <a:spcPts val="513"/>
              </a:spcAft>
              <a:buClr>
                <a:schemeClr val="tx1"/>
              </a:buClr>
              <a:buAutoNum type="arabicParenBoth"/>
              <a:defRPr/>
            </a:pPr>
            <a:r>
              <a:rPr lang="en-US" sz="1600" b="1" dirty="0" smtClean="0">
                <a:latin typeface="Georgia" charset="0"/>
                <a:ea typeface="Georgia" charset="0"/>
                <a:cs typeface="Georgia" charset="0"/>
              </a:rPr>
              <a:t>computational </a:t>
            </a:r>
            <a:r>
              <a:rPr lang="en-US" sz="1600" b="1" dirty="0">
                <a:latin typeface="Georgia" charset="0"/>
                <a:ea typeface="Georgia" charset="0"/>
                <a:cs typeface="Georgia" charset="0"/>
              </a:rPr>
              <a:t>time</a:t>
            </a:r>
            <a:r>
              <a:rPr lang="en-US" sz="1600" dirty="0">
                <a:latin typeface="Georgia" charset="0"/>
                <a:ea typeface="Georgia" charset="0"/>
                <a:cs typeface="Georgia" charset="0"/>
              </a:rPr>
              <a:t>, as commercial collaborative filtering has millions of users and cannot consider all possible combinations of users. </a:t>
            </a:r>
          </a:p>
        </p:txBody>
      </p:sp>
    </p:spTree>
    <p:extLst>
      <p:ext uri="{BB962C8B-B14F-4D97-AF65-F5344CB8AC3E}">
        <p14:creationId xmlns:p14="http://schemas.microsoft.com/office/powerpoint/2010/main" val="57084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3.2</a:t>
            </a:r>
            <a:r>
              <a:rPr lang="zh-CN" altLang="en-US" sz="2800" b="1" i="1" dirty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  <a:endParaRPr lang="en-US" altLang="zh-CN" sz="2800" b="1" i="1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134" name="Group 133"/>
          <p:cNvGrpSpPr/>
          <p:nvPr/>
        </p:nvGrpSpPr>
        <p:grpSpPr>
          <a:xfrm>
            <a:off x="611560" y="2363477"/>
            <a:ext cx="8208912" cy="3078473"/>
            <a:chOff x="718875" y="1953930"/>
            <a:chExt cx="7841357" cy="2090556"/>
          </a:xfrm>
        </p:grpSpPr>
        <p:sp>
          <p:nvSpPr>
            <p:cNvPr id="140" name="Freeform 139"/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718875" y="1953930"/>
              <a:ext cx="4511262" cy="2090556"/>
            </a:xfrm>
            <a:custGeom>
              <a:avLst/>
              <a:gdLst>
                <a:gd name="T0" fmla="*/ 2147483647 w 1934"/>
                <a:gd name="T1" fmla="*/ 2147483647 h 1970"/>
                <a:gd name="T2" fmla="*/ 0 w 1934"/>
                <a:gd name="T3" fmla="*/ 2147483647 h 1970"/>
                <a:gd name="T4" fmla="*/ 0 w 1934"/>
                <a:gd name="T5" fmla="*/ 0 h 1970"/>
                <a:gd name="T6" fmla="*/ 2147483647 w 1934"/>
                <a:gd name="T7" fmla="*/ 0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2147483647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2147483647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1518" y="1969"/>
                  </a:moveTo>
                  <a:lnTo>
                    <a:pt x="0" y="1969"/>
                  </a:lnTo>
                  <a:lnTo>
                    <a:pt x="0" y="0"/>
                  </a:lnTo>
                  <a:lnTo>
                    <a:pt x="1699" y="0"/>
                  </a:lnTo>
                  <a:lnTo>
                    <a:pt x="1648" y="525"/>
                  </a:lnTo>
                  <a:lnTo>
                    <a:pt x="1734" y="525"/>
                  </a:lnTo>
                  <a:lnTo>
                    <a:pt x="1734" y="276"/>
                  </a:lnTo>
                  <a:lnTo>
                    <a:pt x="1933" y="703"/>
                  </a:lnTo>
                  <a:lnTo>
                    <a:pt x="1734" y="1104"/>
                  </a:lnTo>
                  <a:lnTo>
                    <a:pt x="1734" y="855"/>
                  </a:lnTo>
                  <a:lnTo>
                    <a:pt x="1622" y="855"/>
                  </a:lnTo>
                  <a:lnTo>
                    <a:pt x="1596" y="1104"/>
                  </a:lnTo>
                  <a:lnTo>
                    <a:pt x="1596" y="864"/>
                  </a:lnTo>
                  <a:lnTo>
                    <a:pt x="1397" y="1256"/>
                  </a:lnTo>
                  <a:lnTo>
                    <a:pt x="1556" y="1597"/>
                  </a:lnTo>
                  <a:lnTo>
                    <a:pt x="1518" y="1969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tIns="165862" rIns="1077449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1" name="Freeform 140"/>
            <p:cNvSpPr>
              <a:spLocks/>
            </p:cNvSpPr>
            <p:nvPr>
              <p:custDataLst>
                <p:tags r:id="rId2"/>
              </p:custDataLst>
            </p:nvPr>
          </p:nvSpPr>
          <p:spPr bwMode="blackWhite">
            <a:xfrm>
              <a:off x="3992872" y="1953930"/>
              <a:ext cx="4567360" cy="2090556"/>
            </a:xfrm>
            <a:custGeom>
              <a:avLst/>
              <a:gdLst>
                <a:gd name="T0" fmla="*/ 2147483647 w 1934"/>
                <a:gd name="T1" fmla="*/ 0 h 1970"/>
                <a:gd name="T2" fmla="*/ 2147483647 w 1934"/>
                <a:gd name="T3" fmla="*/ 0 h 1970"/>
                <a:gd name="T4" fmla="*/ 2147483647 w 1934"/>
                <a:gd name="T5" fmla="*/ 2147483647 h 1970"/>
                <a:gd name="T6" fmla="*/ 2147483647 w 1934"/>
                <a:gd name="T7" fmla="*/ 2147483647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0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0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414" y="0"/>
                  </a:moveTo>
                  <a:lnTo>
                    <a:pt x="1933" y="0"/>
                  </a:lnTo>
                  <a:lnTo>
                    <a:pt x="1933" y="1969"/>
                  </a:lnTo>
                  <a:lnTo>
                    <a:pt x="241" y="1969"/>
                  </a:lnTo>
                  <a:lnTo>
                    <a:pt x="284" y="1434"/>
                  </a:lnTo>
                  <a:lnTo>
                    <a:pt x="198" y="1434"/>
                  </a:lnTo>
                  <a:lnTo>
                    <a:pt x="198" y="1683"/>
                  </a:lnTo>
                  <a:lnTo>
                    <a:pt x="0" y="1265"/>
                  </a:lnTo>
                  <a:lnTo>
                    <a:pt x="198" y="864"/>
                  </a:lnTo>
                  <a:lnTo>
                    <a:pt x="198" y="1113"/>
                  </a:lnTo>
                  <a:lnTo>
                    <a:pt x="310" y="1113"/>
                  </a:lnTo>
                  <a:lnTo>
                    <a:pt x="345" y="864"/>
                  </a:lnTo>
                  <a:lnTo>
                    <a:pt x="336" y="1095"/>
                  </a:lnTo>
                  <a:lnTo>
                    <a:pt x="535" y="694"/>
                  </a:lnTo>
                  <a:lnTo>
                    <a:pt x="379" y="374"/>
                  </a:lnTo>
                  <a:lnTo>
                    <a:pt x="414" y="0"/>
                  </a:ln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lIns="1012149" tIns="82931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lvl="1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eaLnBrk="1" hangingPunct="1">
                <a:spcBef>
                  <a:spcPts val="544"/>
                </a:spcBef>
              </a:pPr>
              <a:endParaRPr lang="en-US" altLang="en-US" sz="1088" b="1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2" name="Rectangle 12"/>
            <p:cNvSpPr txBox="1">
              <a:spLocks noChangeArrowheads="1"/>
            </p:cNvSpPr>
            <p:nvPr/>
          </p:nvSpPr>
          <p:spPr>
            <a:xfrm>
              <a:off x="821385" y="2074890"/>
              <a:ext cx="3715548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500" b="1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Correlation-thresholding</a:t>
              </a:r>
              <a:r>
                <a:rPr lang="en-US" sz="1500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Set an absolute threshold, where all neighbors with correlations above a given threshold are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selected.</a:t>
              </a:r>
            </a:p>
            <a:p>
              <a:pPr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high threshold produces </a:t>
              </a:r>
              <a:r>
                <a:rPr lang="zh-CN" altLang="en-US" sz="1500" dirty="0">
                  <a:latin typeface="Georgia" charset="0"/>
                  <a:ea typeface="Georgia" charset="0"/>
                  <a:cs typeface="Georgia" charset="0"/>
                </a:rPr>
                <a:t>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high correlates</a:t>
              </a:r>
            </a:p>
            <a:p>
              <a:pPr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Dis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high threshold gives </a:t>
              </a:r>
              <a:r>
                <a:rPr lang="zh-CN" altLang="en-US" sz="1500" dirty="0" smtClean="0">
                  <a:latin typeface="Georgia" charset="0"/>
                  <a:ea typeface="Georgia" charset="0"/>
                  <a:cs typeface="Georgia" charset="0"/>
                </a:rPr>
                <a:t>   </a:t>
              </a:r>
              <a:r>
                <a:rPr lang="en-US" sz="1500" dirty="0" smtClean="0">
                  <a:latin typeface="Georgia" charset="0"/>
                  <a:ea typeface="Georgia" charset="0"/>
                  <a:cs typeface="Georgia" charset="0"/>
                </a:rPr>
                <a:t>you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a small neighborhood that limits prediction coverage for many items.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altLang="zh-CN" sz="110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Rectangle 12"/>
            <p:cNvSpPr txBox="1">
              <a:spLocks noChangeArrowheads="1"/>
            </p:cNvSpPr>
            <p:nvPr/>
          </p:nvSpPr>
          <p:spPr>
            <a:xfrm>
              <a:off x="4971708" y="2035616"/>
              <a:ext cx="3397884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 lvl="1">
                <a:spcAft>
                  <a:spcPts val="1200"/>
                </a:spcAft>
              </a:pPr>
              <a:r>
                <a:rPr lang="en-US" sz="1500" b="1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Top-n-neighbors</a:t>
              </a:r>
              <a:r>
                <a:rPr lang="en-US" sz="1500" dirty="0">
                  <a:solidFill>
                    <a:srgbClr val="EB8C00"/>
                  </a:solidFill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Pick the best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correlates for a given </a:t>
              </a:r>
              <a:r>
                <a:rPr lang="en-US" sz="1500" i="1" dirty="0" smtClean="0">
                  <a:latin typeface="Georgia" charset="0"/>
                  <a:ea typeface="Georgia" charset="0"/>
                  <a:cs typeface="Georgia" charset="0"/>
                </a:rPr>
                <a:t>n.</a:t>
              </a:r>
            </a:p>
            <a:p>
              <a:pPr lvl="1"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Choosing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does not limit prediction coverage, whereas the threshold approach does. </a:t>
              </a:r>
              <a:endParaRPr lang="en-US" sz="1500" dirty="0" smtClean="0">
                <a:latin typeface="Georgia" charset="0"/>
                <a:ea typeface="Georgia" charset="0"/>
                <a:cs typeface="Georgia" charset="0"/>
              </a:endParaRPr>
            </a:p>
            <a:p>
              <a:pPr lvl="1">
                <a:spcAft>
                  <a:spcPts val="1200"/>
                </a:spcAft>
              </a:pPr>
              <a:r>
                <a:rPr lang="en-US" sz="1500" b="1" dirty="0" smtClean="0">
                  <a:latin typeface="Georgia" charset="0"/>
                  <a:ea typeface="Georgia" charset="0"/>
                  <a:cs typeface="Georgia" charset="0"/>
                </a:rPr>
                <a:t>Disadvantages</a:t>
              </a:r>
              <a:r>
                <a:rPr lang="en-US" sz="1500" b="1" dirty="0">
                  <a:latin typeface="Georgia" charset="0"/>
                  <a:ea typeface="Georgia" charset="0"/>
                  <a:cs typeface="Georgia" charset="0"/>
                </a:rPr>
                <a:t>: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High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will result in noise(many low correlates) for users who have high correlates; picking a low </a:t>
              </a:r>
              <a:r>
                <a:rPr lang="en-US" sz="1500" i="1" dirty="0">
                  <a:latin typeface="Georgia" charset="0"/>
                  <a:ea typeface="Georgia" charset="0"/>
                  <a:cs typeface="Georgia" charset="0"/>
                </a:rPr>
                <a:t>n </a:t>
              </a:r>
              <a:r>
                <a:rPr lang="en-US" sz="1500" dirty="0">
                  <a:latin typeface="Georgia" charset="0"/>
                  <a:ea typeface="Georgia" charset="0"/>
                  <a:cs typeface="Georgia" charset="0"/>
                </a:rPr>
                <a:t>will result in poor prediction for users who do not have many high correlates. 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sz="15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4" name="TextBox 143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/>
          </p:nvPr>
        </p:nvGraphicFramePr>
        <p:xfrm>
          <a:off x="612845" y="1799919"/>
          <a:ext cx="3926227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392622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re are two methods for selecting neighbors: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21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679484"/>
              </p:ext>
            </p:extLst>
          </p:nvPr>
        </p:nvGraphicFramePr>
        <p:xfrm>
          <a:off x="467544" y="572656"/>
          <a:ext cx="8143056" cy="1219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0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500472" y="6894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3.3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Selecting Neighbo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115616" y="1484784"/>
            <a:ext cx="5742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Results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98848" y="2204864"/>
            <a:ext cx="63534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Georgia" charset="0"/>
                <a:ea typeface="Georgia" charset="0"/>
                <a:cs typeface="Georgia" charset="0"/>
              </a:rPr>
              <a:t>Future considerations: </a:t>
            </a:r>
          </a:p>
          <a:p>
            <a:endParaRPr lang="en-US" dirty="0">
              <a:latin typeface="Georgia" charset="0"/>
              <a:ea typeface="Georgia" charset="0"/>
              <a:cs typeface="Georgia" charset="0"/>
            </a:endParaRPr>
          </a:p>
          <a:p>
            <a:r>
              <a:rPr lang="en-US" dirty="0" smtClean="0">
                <a:latin typeface="Georgia" charset="0"/>
                <a:ea typeface="Georgia" charset="0"/>
                <a:cs typeface="Georgia" charset="0"/>
              </a:rPr>
              <a:t>We could combine </a:t>
            </a:r>
            <a:r>
              <a:rPr lang="en-US" dirty="0">
                <a:latin typeface="Georgia" charset="0"/>
                <a:ea typeface="Georgia" charset="0"/>
                <a:cs typeface="Georgia" charset="0"/>
              </a:rPr>
              <a:t>the two methods, i.e. combining a low threshold with a high n or a high threshold with a low n.</a:t>
            </a:r>
          </a:p>
        </p:txBody>
      </p:sp>
    </p:spTree>
    <p:extLst>
      <p:ext uri="{BB962C8B-B14F-4D97-AF65-F5344CB8AC3E}">
        <p14:creationId xmlns:p14="http://schemas.microsoft.com/office/powerpoint/2010/main" val="716281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3902832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5495149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7087465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310515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718198" y="3095028"/>
            <a:ext cx="1463040" cy="10540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4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1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rocess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8199" y="1340768"/>
            <a:ext cx="7892401" cy="1040350"/>
            <a:chOff x="718199" y="1552838"/>
            <a:chExt cx="8275470" cy="1040350"/>
          </a:xfrm>
        </p:grpSpPr>
        <p:sp>
          <p:nvSpPr>
            <p:cNvPr id="144" name="TextBox 143"/>
            <p:cNvSpPr txBox="1"/>
            <p:nvPr/>
          </p:nvSpPr>
          <p:spPr>
            <a:xfrm>
              <a:off x="718875" y="1954560"/>
              <a:ext cx="2124933" cy="3943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endParaRPr lang="en-US" sz="16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2412801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97"/>
            <p:cNvSpPr txBox="1"/>
            <p:nvPr/>
          </p:nvSpPr>
          <p:spPr>
            <a:xfrm>
              <a:off x="2431178" y="2056387"/>
              <a:ext cx="160788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718199" y="1954877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9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02"/>
            <p:cNvSpPr txBox="1"/>
            <p:nvPr/>
          </p:nvSpPr>
          <p:spPr>
            <a:xfrm>
              <a:off x="718199" y="2064893"/>
              <a:ext cx="2092054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36"/>
            <p:cNvSpPr txBox="1"/>
            <p:nvPr/>
          </p:nvSpPr>
          <p:spPr>
            <a:xfrm>
              <a:off x="724391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TextBox 138"/>
            <p:cNvSpPr txBox="1"/>
            <p:nvPr/>
          </p:nvSpPr>
          <p:spPr>
            <a:xfrm>
              <a:off x="2388579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769831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97"/>
            <p:cNvSpPr txBox="1"/>
            <p:nvPr/>
          </p:nvSpPr>
          <p:spPr>
            <a:xfrm>
              <a:off x="5769831" y="2079966"/>
              <a:ext cx="1898513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403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1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7" y="186"/>
                </a:cxn>
                <a:cxn ang="0">
                  <a:pos x="669" y="0"/>
                </a:cxn>
              </a:cxnLst>
              <a:rect l="0" t="0" r="r" b="b"/>
              <a:pathLst>
                <a:path w="827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1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7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102"/>
            <p:cNvSpPr txBox="1"/>
            <p:nvPr/>
          </p:nvSpPr>
          <p:spPr>
            <a:xfrm>
              <a:off x="4152050" y="2072597"/>
              <a:ext cx="1556017" cy="513222"/>
            </a:xfrm>
            <a:prstGeom prst="rect">
              <a:avLst/>
            </a:prstGeom>
            <a:noFill/>
          </p:spPr>
          <p:txBody>
            <a:bodyPr wrap="square" lIns="0" tIns="39096" rIns="0" bIns="0" rtlCol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34551">
                <a:spcAft>
                  <a:spcPts val="257"/>
                </a:spcAft>
              </a:pP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tep</a:t>
              </a:r>
              <a:r>
                <a:rPr lang="zh-CN" altLang="en-US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27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US" sz="127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085702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782824" y="1578497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7411937" y="1956026"/>
              <a:ext cx="1581732" cy="510195"/>
            </a:xfrm>
            <a:custGeom>
              <a:avLst/>
              <a:gdLst/>
              <a:ahLst/>
              <a:cxnLst>
                <a:cxn ang="0">
                  <a:pos x="669" y="0"/>
                </a:cxn>
                <a:cxn ang="0">
                  <a:pos x="0" y="0"/>
                </a:cxn>
                <a:cxn ang="0">
                  <a:pos x="0" y="25"/>
                </a:cxn>
                <a:cxn ang="0">
                  <a:pos x="590" y="25"/>
                </a:cxn>
                <a:cxn ang="0">
                  <a:pos x="721" y="186"/>
                </a:cxn>
                <a:cxn ang="0">
                  <a:pos x="569" y="370"/>
                </a:cxn>
                <a:cxn ang="0">
                  <a:pos x="669" y="370"/>
                </a:cxn>
                <a:cxn ang="0">
                  <a:pos x="826" y="186"/>
                </a:cxn>
                <a:cxn ang="0">
                  <a:pos x="669" y="0"/>
                </a:cxn>
              </a:cxnLst>
              <a:rect l="0" t="0" r="r" b="b"/>
              <a:pathLst>
                <a:path w="826" h="370">
                  <a:moveTo>
                    <a:pt x="669" y="0"/>
                  </a:moveTo>
                  <a:lnTo>
                    <a:pt x="0" y="0"/>
                  </a:lnTo>
                  <a:lnTo>
                    <a:pt x="0" y="25"/>
                  </a:lnTo>
                  <a:lnTo>
                    <a:pt x="590" y="25"/>
                  </a:lnTo>
                  <a:lnTo>
                    <a:pt x="721" y="186"/>
                  </a:lnTo>
                  <a:lnTo>
                    <a:pt x="569" y="370"/>
                  </a:lnTo>
                  <a:lnTo>
                    <a:pt x="669" y="370"/>
                  </a:lnTo>
                  <a:lnTo>
                    <a:pt x="826" y="186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88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424930" y="1552838"/>
              <a:ext cx="382660" cy="4358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2177" b="1" i="1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34" name="TextBox 97"/>
          <p:cNvSpPr txBox="1"/>
          <p:nvPr/>
        </p:nvSpPr>
        <p:spPr>
          <a:xfrm>
            <a:off x="7166043" y="1862445"/>
            <a:ext cx="1898513" cy="513222"/>
          </a:xfrm>
          <a:prstGeom prst="rect">
            <a:avLst/>
          </a:prstGeom>
          <a:noFill/>
        </p:spPr>
        <p:txBody>
          <a:bodyPr wrap="square" lIns="0" tIns="39096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34551">
              <a:spcAft>
                <a:spcPts val="257"/>
              </a:spcAft>
            </a:pPr>
            <a:r>
              <a:rPr lang="en-US" altLang="zh-CN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ep</a:t>
            </a:r>
            <a:r>
              <a:rPr lang="zh-CN" altLang="en-US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270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sz="127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72723" y="3128099"/>
            <a:ext cx="1508515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Review mathematics behind EM Algorithm</a:t>
            </a:r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334357" y="3095028"/>
            <a:ext cx="1508515" cy="93358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Initialize </a:t>
            </a:r>
            <a:r>
              <a:rPr lang="en-US" sz="1400" b="1" dirty="0" smtClean="0">
                <a:solidFill>
                  <a:srgbClr val="DC6900"/>
                </a:solidFill>
              </a:rPr>
              <a:t>parameters</a:t>
            </a:r>
          </a:p>
          <a:p>
            <a:endParaRPr lang="en-US" sz="14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US" sz="1400" b="1" i="1" baseline="30000" dirty="0" smtClean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851920" y="3095028"/>
            <a:ext cx="1508515" cy="8617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Write expectation step of EM </a:t>
            </a:r>
            <a:r>
              <a:rPr lang="en-US" sz="1400" b="1" dirty="0" smtClean="0">
                <a:solidFill>
                  <a:srgbClr val="DC6900"/>
                </a:solidFill>
              </a:rPr>
              <a:t>algorithm</a:t>
            </a:r>
            <a:endParaRPr lang="en-US" sz="1400" b="1" dirty="0">
              <a:solidFill>
                <a:srgbClr val="DC6900"/>
              </a:solidFill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593571" y="3095028"/>
            <a:ext cx="1508515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Write maximization step of EM </a:t>
            </a:r>
            <a:r>
              <a:rPr lang="en-US" sz="1400" b="1" dirty="0" smtClean="0">
                <a:solidFill>
                  <a:srgbClr val="DC6900"/>
                </a:solidFill>
              </a:rPr>
              <a:t>algorithm</a:t>
            </a:r>
            <a:endParaRPr lang="en-US" sz="1400" b="1" dirty="0">
              <a:solidFill>
                <a:srgbClr val="DC69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27786" y="3095028"/>
            <a:ext cx="1508515" cy="89255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DC6900"/>
                </a:solidFill>
              </a:rPr>
              <a:t>Create hard assignments</a:t>
            </a:r>
          </a:p>
          <a:p>
            <a:endParaRPr lang="en-GB" sz="1200" b="1" i="1" baseline="30000" dirty="0" smtClean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  <a:p>
            <a:endParaRPr lang="en-GB" sz="1200" b="1" i="1" baseline="30000" dirty="0">
              <a:solidFill>
                <a:srgbClr val="DC6900"/>
              </a:solidFill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26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67544" y="537880"/>
          <a:ext cx="8143056" cy="12621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143056"/>
              </a:tblGrid>
              <a:tr h="126216">
                <a:tc>
                  <a:txBody>
                    <a:bodyPr/>
                    <a:lstStyle/>
                    <a:p>
                      <a:endParaRPr lang="en-US" sz="200" dirty="0"/>
                    </a:p>
                  </a:txBody>
                  <a:tcPr>
                    <a:lnL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500472" y="664096"/>
            <a:ext cx="8077200" cy="9144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800" b="1" i="1" dirty="0">
                <a:latin typeface="Georgia" charset="0"/>
                <a:ea typeface="Georgia" charset="0"/>
                <a:cs typeface="Georgia" charset="0"/>
              </a:rPr>
              <a:t>4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.2</a:t>
            </a:r>
            <a:r>
              <a:rPr lang="zh-CN" altLang="en-US" sz="2800" b="1" i="1" dirty="0" smtClean="0"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en-US" altLang="zh-CN" sz="2800" b="1" i="1" dirty="0" smtClean="0">
                <a:latin typeface="Georgia" charset="0"/>
                <a:ea typeface="Georgia" charset="0"/>
                <a:cs typeface="Georgia" charset="0"/>
              </a:rPr>
              <a:t>Model Based Performance</a:t>
            </a:r>
            <a:endParaRPr lang="en-GB" sz="2400" b="1" i="1" baseline="30000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1581448"/>
            <a:ext cx="7815944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We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had to initialize at random points to get any movement between iterations in EM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algorithm</a:t>
            </a:r>
            <a:endParaRPr lang="en-US" dirty="0">
              <a:solidFill>
                <a:srgbClr val="333333"/>
              </a:solidFill>
              <a:latin typeface="Georgia" charset="0"/>
              <a:ea typeface="Georgia" charset="0"/>
              <a:cs typeface="Georgia" charset="0"/>
            </a:endParaRP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Variatio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between clusters for predicted ratings  for movie j start out very small (0.009655562 in one case after 3 iterations) and diverge over time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Distributio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of the users over the clusters also diverges over time, after 3 iterations we have ~64% of all users in a single cluster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In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4 iterations the L-2 norm of change between iterations went from ~3.5 to ~.2, it must have some kind of  exponential decay convergence if it takes so long to get from .2 to .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01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Fun fact: apparently you can subset cells of a matrix with a 2 col matrix of coordinates in the extract brackets</a:t>
            </a:r>
          </a:p>
          <a:p>
            <a:pPr fontAlgn="base">
              <a:spcAft>
                <a:spcPts val="12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 Graph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ideas: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convergence over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time, histogram of </a:t>
            </a:r>
            <a:r>
              <a:rPr lang="en-US" dirty="0" smtClean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predicted </a:t>
            </a:r>
            <a:r>
              <a:rPr lang="en-US" dirty="0">
                <a:solidFill>
                  <a:srgbClr val="333333"/>
                </a:solidFill>
                <a:latin typeface="Georgia" charset="0"/>
                <a:ea typeface="Georgia" charset="0"/>
                <a:cs typeface="Georgia" charset="0"/>
              </a:rPr>
              <a:t>ratings</a:t>
            </a:r>
            <a:endParaRPr lang="en-US" b="0" i="0" u="none" strike="noStrike" dirty="0">
              <a:solidFill>
                <a:srgbClr val="333333"/>
              </a:solidFill>
              <a:effectLst/>
              <a:latin typeface="Georgia" charset="0"/>
              <a:ea typeface="Georgia" charset="0"/>
              <a:cs typeface="Georgi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88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ae952cd3-87f9-48bb-a773-1d82932c989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224</TotalTime>
  <Words>486</Words>
  <Application>Microsoft Macintosh PowerPoint</Application>
  <PresentationFormat>On-screen Show (4:3)</PresentationFormat>
  <Paragraphs>168</Paragraphs>
  <Slides>11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Calibri</vt:lpstr>
      <vt:lpstr>Calibri Light</vt:lpstr>
      <vt:lpstr>DengXian</vt:lpstr>
      <vt:lpstr>DengXian Light</vt:lpstr>
      <vt:lpstr>Georgia</vt:lpstr>
      <vt:lpstr>Times New Roman</vt:lpstr>
      <vt:lpstr>微软雅黑</vt:lpstr>
      <vt:lpstr>Arial</vt:lpstr>
      <vt:lpstr>Office Theme</vt:lpstr>
      <vt:lpstr>Collaborative Filt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ricewaterhouseCoopers</Company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on XY Wang</dc:creator>
  <cp:lastModifiedBy>Yun LI</cp:lastModifiedBy>
  <cp:revision>690</cp:revision>
  <cp:lastPrinted>2016-07-14T06:52:01Z</cp:lastPrinted>
  <dcterms:created xsi:type="dcterms:W3CDTF">2016-07-07T07:34:16Z</dcterms:created>
  <dcterms:modified xsi:type="dcterms:W3CDTF">2018-04-09T18:4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W</vt:lpwstr>
  </property>
  <property fmtid="{D5CDD505-2E9C-101B-9397-08002B2CF9AE}" pid="4" name="Template created by">
    <vt:lpwstr>PwC</vt:lpwstr>
  </property>
  <property fmtid="{D5CDD505-2E9C-101B-9397-08002B2CF9AE}" pid="5" name="Template version">
    <vt:lpwstr>5</vt:lpwstr>
  </property>
</Properties>
</file>